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7" r:id="rId5"/>
  </p:sldMasterIdLst>
  <p:notesMasterIdLst>
    <p:notesMasterId r:id="rId29"/>
  </p:notesMasterIdLst>
  <p:sldIdLst>
    <p:sldId id="2374" r:id="rId6"/>
    <p:sldId id="2132738513" r:id="rId7"/>
    <p:sldId id="8902" r:id="rId8"/>
    <p:sldId id="2132738512" r:id="rId9"/>
    <p:sldId id="2132738487" r:id="rId10"/>
    <p:sldId id="2132738488" r:id="rId11"/>
    <p:sldId id="2377" r:id="rId12"/>
    <p:sldId id="2132738481" r:id="rId13"/>
    <p:sldId id="2364" r:id="rId14"/>
    <p:sldId id="2132738480" r:id="rId15"/>
    <p:sldId id="2132738514" r:id="rId16"/>
    <p:sldId id="8881" r:id="rId17"/>
    <p:sldId id="2348" r:id="rId18"/>
    <p:sldId id="8925" r:id="rId19"/>
    <p:sldId id="8934" r:id="rId20"/>
    <p:sldId id="2132738484" r:id="rId21"/>
    <p:sldId id="8882" r:id="rId22"/>
    <p:sldId id="1851" r:id="rId23"/>
    <p:sldId id="2365" r:id="rId24"/>
    <p:sldId id="1659" r:id="rId25"/>
    <p:sldId id="2440" r:id="rId26"/>
    <p:sldId id="2375" r:id="rId27"/>
    <p:sldId id="2376" r:id="rId28"/>
  </p:sldIdLst>
  <p:sldSz cx="12192000" cy="6858000"/>
  <p:notesSz cx="9931400" cy="67945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5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579A"/>
    <a:srgbClr val="5EAD35"/>
    <a:srgbClr val="83053C"/>
    <a:srgbClr val="FABB00"/>
    <a:srgbClr val="BEBEBE"/>
    <a:srgbClr val="85D8EB"/>
    <a:srgbClr val="26BBDC"/>
    <a:srgbClr val="41A822"/>
    <a:srgbClr val="BFBFBF"/>
    <a:srgbClr val="1818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892" autoAdjust="0"/>
    <p:restoredTop sz="91348" autoAdjust="0"/>
  </p:normalViewPr>
  <p:slideViewPr>
    <p:cSldViewPr snapToGrid="0">
      <p:cViewPr varScale="1">
        <p:scale>
          <a:sx n="79" d="100"/>
          <a:sy n="79" d="100"/>
        </p:scale>
        <p:origin x="130" y="82"/>
      </p:cViewPr>
      <p:guideLst>
        <p:guide orient="horz" pos="3952"/>
        <p:guide pos="3840"/>
        <p:guide orient="horz" pos="286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erdgas-my.sharepoint.com/personal/timm_kehler_erdgas_info/Documents/Arbeitsdokumente/210731%20Wasserfall%20Erdgasverbrauch%20Industrie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6"/>
          <c:order val="0"/>
          <c:tx>
            <c:strRef>
              <c:f>'Tabelle1 (2)'!$A$8</c:f>
              <c:strCache>
                <c:ptCount val="1"/>
                <c:pt idx="0">
                  <c:v>Gesamt</c:v>
                </c:pt>
              </c:strCache>
            </c:strRef>
          </c:tx>
          <c:spPr>
            <a:ln w="76200" cap="rnd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cat>
            <c:numRef>
              <c:f>'Tabelle1 (2)'!$C$1:$W$1</c:f>
              <c:numCache>
                <c:formatCode>General</c:formatCode>
                <c:ptCount val="2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  <c:pt idx="20">
                  <c:v>2040</c:v>
                </c:pt>
              </c:numCache>
            </c:numRef>
          </c:cat>
          <c:val>
            <c:numRef>
              <c:f>'Tabelle1 (2)'!$C$8:$W$8</c:f>
              <c:numCache>
                <c:formatCode>0</c:formatCode>
                <c:ptCount val="21"/>
                <c:pt idx="0">
                  <c:v>813</c:v>
                </c:pt>
                <c:pt idx="1">
                  <c:v>787.5</c:v>
                </c:pt>
                <c:pt idx="2">
                  <c:v>756</c:v>
                </c:pt>
                <c:pt idx="3">
                  <c:v>720.375</c:v>
                </c:pt>
                <c:pt idx="4">
                  <c:v>681.75</c:v>
                </c:pt>
                <c:pt idx="5">
                  <c:v>643.125</c:v>
                </c:pt>
                <c:pt idx="6">
                  <c:v>603.5</c:v>
                </c:pt>
                <c:pt idx="7">
                  <c:v>564.875</c:v>
                </c:pt>
                <c:pt idx="8">
                  <c:v>523.25</c:v>
                </c:pt>
                <c:pt idx="9">
                  <c:v>481.625</c:v>
                </c:pt>
                <c:pt idx="10" formatCode="General">
                  <c:v>438</c:v>
                </c:pt>
                <c:pt idx="11">
                  <c:v>412.16999999999996</c:v>
                </c:pt>
                <c:pt idx="12">
                  <c:v>374.70000000000005</c:v>
                </c:pt>
                <c:pt idx="13">
                  <c:v>349.72</c:v>
                </c:pt>
                <c:pt idx="14">
                  <c:v>324.74</c:v>
                </c:pt>
                <c:pt idx="15">
                  <c:v>287.27</c:v>
                </c:pt>
                <c:pt idx="16">
                  <c:v>262.28999999999996</c:v>
                </c:pt>
                <c:pt idx="17">
                  <c:v>237.30999999999995</c:v>
                </c:pt>
                <c:pt idx="18">
                  <c:v>212.33000000000004</c:v>
                </c:pt>
                <c:pt idx="19">
                  <c:v>174.86</c:v>
                </c:pt>
                <c:pt idx="20">
                  <c:v>149.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FB4-4528-BC65-D49253FECA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89004416"/>
        <c:axId val="578072104"/>
      </c:lineChart>
      <c:catAx>
        <c:axId val="589004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pPr>
            <a:endParaRPr lang="de-DE"/>
          </a:p>
        </c:txPr>
        <c:crossAx val="578072104"/>
        <c:crosses val="autoZero"/>
        <c:auto val="1"/>
        <c:lblAlgn val="ctr"/>
        <c:lblOffset val="100"/>
        <c:noMultiLvlLbl val="0"/>
      </c:catAx>
      <c:valAx>
        <c:axId val="578072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Ubuntu" panose="020B0504030602030204" pitchFamily="34" charset="0"/>
                    <a:ea typeface="+mn-ea"/>
                    <a:cs typeface="+mn-cs"/>
                  </a:defRPr>
                </a:pPr>
                <a:r>
                  <a:rPr lang="en-US" sz="1200" b="1"/>
                  <a:t>Mio t CO2 Äquivalen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buntu" panose="020B0504030602030204" pitchFamily="34" charset="0"/>
                  <a:ea typeface="+mn-ea"/>
                  <a:cs typeface="+mn-cs"/>
                </a:defRPr>
              </a:pPr>
              <a:endParaRPr lang="de-DE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Ubuntu" panose="020B0504030602030204" pitchFamily="34" charset="0"/>
                <a:ea typeface="+mn-ea"/>
                <a:cs typeface="+mn-cs"/>
              </a:defRPr>
            </a:pPr>
            <a:endParaRPr lang="de-DE"/>
          </a:p>
        </c:txPr>
        <c:crossAx val="589004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Ubuntu" panose="020B0504030602030204" pitchFamily="34" charset="0"/>
        </a:defRPr>
      </a:pPr>
      <a:endParaRPr lang="de-DE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982</cdr:x>
      <cdr:y>0.75769</cdr:y>
    </cdr:from>
    <cdr:to>
      <cdr:x>0.8686</cdr:x>
      <cdr:y>0.75769</cdr:y>
    </cdr:to>
    <cdr:cxnSp macro="">
      <cdr:nvCxnSpPr>
        <cdr:cNvPr id="4" name="Gerader Verbinder 3">
          <a:extLst xmlns:a="http://schemas.openxmlformats.org/drawingml/2006/main">
            <a:ext uri="{FF2B5EF4-FFF2-40B4-BE49-F238E27FC236}">
              <a16:creationId xmlns:a16="http://schemas.microsoft.com/office/drawing/2014/main" id="{79EDAC72-6854-4A5A-8934-4613F4D8B1C7}"/>
            </a:ext>
          </a:extLst>
        </cdr:cNvPr>
        <cdr:cNvCxnSpPr/>
      </cdr:nvCxnSpPr>
      <cdr:spPr>
        <a:xfrm xmlns:a="http://schemas.openxmlformats.org/drawingml/2006/main">
          <a:off x="987094" y="3705753"/>
          <a:ext cx="7602106" cy="0"/>
        </a:xfrm>
        <a:prstGeom xmlns:a="http://schemas.openxmlformats.org/drawingml/2006/main" prst="line">
          <a:avLst/>
        </a:prstGeom>
        <a:ln xmlns:a="http://schemas.openxmlformats.org/drawingml/2006/main" w="57150">
          <a:solidFill>
            <a:schemeClr val="accent1"/>
          </a:solidFill>
          <a:prstDash val="sysDash"/>
          <a:headEnd type="none" w="med" len="med"/>
          <a:tailEnd type="triangle" w="med" len="med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6511</cdr:x>
      <cdr:y>0.73667</cdr:y>
    </cdr:from>
    <cdr:to>
      <cdr:x>0.63596</cdr:x>
      <cdr:y>0.81539</cdr:y>
    </cdr:to>
    <cdr:sp macro="" textlink="">
      <cdr:nvSpPr>
        <cdr:cNvPr id="8" name="Textfeld 7">
          <a:extLst xmlns:a="http://schemas.openxmlformats.org/drawingml/2006/main">
            <a:ext uri="{FF2B5EF4-FFF2-40B4-BE49-F238E27FC236}">
              <a16:creationId xmlns:a16="http://schemas.microsoft.com/office/drawing/2014/main" id="{56B1B419-3B40-4002-84A4-1115229B75A6}"/>
            </a:ext>
          </a:extLst>
        </cdr:cNvPr>
        <cdr:cNvSpPr txBox="1"/>
      </cdr:nvSpPr>
      <cdr:spPr>
        <a:xfrm xmlns:a="http://schemas.openxmlformats.org/drawingml/2006/main">
          <a:off x="2621538" y="3602950"/>
          <a:ext cx="3667226" cy="38500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wrap="none" lIns="0" tIns="0" rIns="0" bIns="0" rtlCol="0">
          <a:noAutofit/>
        </a:bodyPr>
        <a:lstStyle xmlns:a="http://schemas.openxmlformats.org/drawingml/2006/main"/>
        <a:p xmlns:a="http://schemas.openxmlformats.org/drawingml/2006/main">
          <a:pPr algn="ctr">
            <a:lnSpc>
              <a:spcPct val="115000"/>
            </a:lnSpc>
          </a:pPr>
          <a:r>
            <a:rPr lang="en-GB" sz="1400" b="1" dirty="0"/>
            <a:t>THG-</a:t>
          </a:r>
          <a:r>
            <a:rPr lang="en-GB" sz="1400" b="1" dirty="0" err="1"/>
            <a:t>Emissionen</a:t>
          </a:r>
          <a:r>
            <a:rPr lang="en-GB" sz="1400" b="1" dirty="0"/>
            <a:t> </a:t>
          </a:r>
          <a:r>
            <a:rPr lang="en-GB" sz="1400" b="1" dirty="0" err="1"/>
            <a:t>aus</a:t>
          </a:r>
          <a:r>
            <a:rPr lang="en-GB" sz="1400" b="1" dirty="0"/>
            <a:t> Erdgas in Deutschland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607" cy="3409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5495" y="0"/>
            <a:ext cx="4303607" cy="3409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C43067-C8D5-4556-B079-47A011CE53F2}" type="datetimeFigureOut">
              <a:rPr lang="de-DE" smtClean="0"/>
              <a:t>09.09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3140" y="3269853"/>
            <a:ext cx="7945120" cy="267533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3596"/>
            <a:ext cx="4303607" cy="3409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5495" y="6453596"/>
            <a:ext cx="4303607" cy="3409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20F15C-EAC4-490C-A24F-B3026996798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63542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A566DF-0B59-4630-B0E9-AD410AAE4322}" type="datetime1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09.202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8F1EF-A64D-4DC0-8D68-46CDE6430BF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8977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AE8370-5F9B-4F25-B212-30DE20BF2367}" type="datetime1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09.202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8F1EF-A64D-4DC0-8D68-46CDE6430BF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12880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20F15C-EAC4-490C-A24F-B30269967984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99227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20F15C-EAC4-490C-A24F-B30269967984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97703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25C7-C32F-43A0-834F-ED3FFEA97EFE}" type="datetime1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09.202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8F1EF-A64D-4DC0-8D68-46CDE6430BF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1356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8F1EF-A64D-4DC0-8D68-46CDE6430BF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 panose="020B0504030602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 panose="020B05040306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66391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20F15C-EAC4-490C-A24F-B30269967984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63004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A0888-1576-4EF8-993D-9E91E8072E83}" type="datetime1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9.09.202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68F1EF-A64D-4DC0-8D68-46CDE6430BF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4197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64DB98-2A5E-4FD6-9007-2BC8CE299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775" y="1254034"/>
            <a:ext cx="11471275" cy="1088451"/>
          </a:xfrm>
        </p:spPr>
        <p:txBody>
          <a:bodyPr anchor="b" anchorCtr="0"/>
          <a:lstStyle>
            <a:lvl1pPr algn="l">
              <a:lnSpc>
                <a:spcPts val="42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1D683A-D8C3-42E7-AC48-F3455CEF14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774" y="2458018"/>
            <a:ext cx="11471275" cy="430922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Ort, 00.00.0000, Vorname Name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C49F1001-F9D8-4F37-A0D1-B04AFDFB24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7800" y="5785427"/>
            <a:ext cx="2508252" cy="639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18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89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orient="horz" pos="147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569" y="590400"/>
            <a:ext cx="11470481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E28BC4B-FC75-4F47-A985-66DEDE1A23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562400"/>
            <a:ext cx="5088300" cy="49356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iagrammplatzhalter 5">
            <a:extLst>
              <a:ext uri="{FF2B5EF4-FFF2-40B4-BE49-F238E27FC236}">
                <a16:creationId xmlns:a16="http://schemas.microsoft.com/office/drawing/2014/main" id="{5C2E71F0-D14C-48EA-9164-C66C5EF6AE43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096000" y="1533600"/>
            <a:ext cx="5734050" cy="49644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6705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FBAE40"/>
          </p15:clr>
        </p15:guide>
        <p15:guide id="2" pos="3840">
          <p15:clr>
            <a:srgbClr val="FBAE40"/>
          </p15:clr>
        </p15:guide>
        <p15:guide id="3" pos="3432">
          <p15:clr>
            <a:srgbClr val="FBAE40"/>
          </p15:clr>
        </p15:guide>
        <p15:guide id="4" orient="horz" pos="371">
          <p15:clr>
            <a:srgbClr val="FBAE40"/>
          </p15:clr>
        </p15:guide>
        <p15:guide id="5" orient="horz" pos="96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569" y="590400"/>
            <a:ext cx="11470480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Diagrammplatzhalter 5">
            <a:extLst>
              <a:ext uri="{FF2B5EF4-FFF2-40B4-BE49-F238E27FC236}">
                <a16:creationId xmlns:a16="http://schemas.microsoft.com/office/drawing/2014/main" id="{5C2E71F0-D14C-48EA-9164-C66C5EF6AE43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465569" y="1533600"/>
            <a:ext cx="5374800" cy="49644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FD66D63F-ECFC-4869-9513-D575E46233BB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60000" y="1533600"/>
            <a:ext cx="5374800" cy="49644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5046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FBAE40"/>
          </p15:clr>
        </p15:guide>
        <p15:guide id="2" pos="4073">
          <p15:clr>
            <a:srgbClr val="FBAE40"/>
          </p15:clr>
        </p15:guide>
        <p15:guide id="3" pos="3614">
          <p15:clr>
            <a:srgbClr val="FBAE40"/>
          </p15:clr>
        </p15:guide>
        <p15:guide id="4" orient="horz" pos="37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>
            <a:extLst>
              <a:ext uri="{FF2B5EF4-FFF2-40B4-BE49-F238E27FC236}">
                <a16:creationId xmlns:a16="http://schemas.microsoft.com/office/drawing/2014/main" id="{C49F1001-F9D8-4F37-A0D1-B04AFDFB24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7800" y="5785427"/>
            <a:ext cx="2508252" cy="639181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836D91-9625-4C4B-B23E-B3E54C9BD0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2013363"/>
            <a:ext cx="11473200" cy="4305300"/>
          </a:xfrm>
        </p:spPr>
        <p:txBody>
          <a:bodyPr anchor="b" anchorCtr="0"/>
          <a:lstStyle>
            <a:lvl1pPr>
              <a:lnSpc>
                <a:spcPct val="100000"/>
              </a:lnSpc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Kontakt</a:t>
            </a:r>
          </a:p>
          <a:p>
            <a:pPr lvl="1"/>
            <a:r>
              <a:rPr lang="de-DE"/>
              <a:t>Firmenname</a:t>
            </a:r>
          </a:p>
        </p:txBody>
      </p:sp>
    </p:spTree>
    <p:extLst>
      <p:ext uri="{BB962C8B-B14F-4D97-AF65-F5344CB8AC3E}">
        <p14:creationId xmlns:p14="http://schemas.microsoft.com/office/powerpoint/2010/main" val="2978720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/>
                </a:solidFill>
                <a:latin typeface="Calibri"/>
              </a:rPr>
              <a:t>Dr. Timm Kehler / Zukunft Gas </a:t>
            </a:r>
          </a:p>
        </p:txBody>
      </p:sp>
      <p:sp>
        <p:nvSpPr>
          <p:cNvPr id="7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/>
                </a:solidFill>
                <a:latin typeface="Calibri"/>
              </a:rPr>
              <a:t>09/2021</a:t>
            </a:r>
          </a:p>
        </p:txBody>
      </p:sp>
      <p:sp>
        <p:nvSpPr>
          <p:cNvPr id="9" name="Chart-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CE82818-D922-4274-9F47-546D22680E9D}" type="slidenum">
              <a:rPr lang="de-DE" smtClean="0">
                <a:solidFill>
                  <a:prstClr val="black"/>
                </a:solidFill>
                <a:latin typeface="Calibri"/>
              </a:rPr>
              <a:pPr/>
              <a:t>‹Nr.›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3" name="Linie"/>
          <p:cNvCxnSpPr/>
          <p:nvPr userDrawn="1"/>
        </p:nvCxnSpPr>
        <p:spPr bwMode="gray">
          <a:xfrm>
            <a:off x="180024" y="6210000"/>
            <a:ext cx="1183195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line"/>
          <p:cNvSpPr>
            <a:spLocks noGrp="1"/>
          </p:cNvSpPr>
          <p:nvPr>
            <p:ph type="body" sz="quarter" idx="14"/>
          </p:nvPr>
        </p:nvSpPr>
        <p:spPr bwMode="gray">
          <a:xfrm>
            <a:off x="541064" y="1332000"/>
            <a:ext cx="11110866" cy="3937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273050" indent="0">
              <a:buNone/>
              <a:defRPr/>
            </a:lvl2pPr>
            <a:lvl3pPr marL="531813" indent="0">
              <a:buNone/>
              <a:defRPr/>
            </a:lvl3pPr>
            <a:lvl4pPr marL="804863" indent="0">
              <a:buNone/>
              <a:defRPr/>
            </a:lvl4pPr>
            <a:lvl5pPr marL="18288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Headline"/>
          <p:cNvSpPr>
            <a:spLocks noGrp="1"/>
          </p:cNvSpPr>
          <p:nvPr>
            <p:ph type="title"/>
          </p:nvPr>
        </p:nvSpPr>
        <p:spPr bwMode="gray">
          <a:xfrm>
            <a:off x="541064" y="911279"/>
            <a:ext cx="11110520" cy="384721"/>
          </a:xfrm>
        </p:spPr>
        <p:txBody>
          <a:bodyPr wrap="square" anchor="b" anchorCtr="0">
            <a:sp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5"/>
          </p:nvPr>
        </p:nvSpPr>
        <p:spPr bwMode="gray">
          <a:xfrm>
            <a:off x="541064" y="1803400"/>
            <a:ext cx="11110674" cy="4351338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91766" y="6372001"/>
            <a:ext cx="1260164" cy="279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010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2" imgH="504" progId="TCLayout.ActiveDocument.1">
                  <p:embed/>
                </p:oleObj>
              </mc:Choice>
              <mc:Fallback>
                <p:oleObj name="think-cell Slide" r:id="rId3" imgW="492" imgH="504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81001" y="80964"/>
            <a:ext cx="9633859" cy="1778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Insert supertit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381001" y="6524522"/>
            <a:ext cx="6297084" cy="231406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800" baseline="0"/>
            </a:lvl1pPr>
          </a:lstStyle>
          <a:p>
            <a:pPr lvl="0"/>
            <a:r>
              <a:rPr lang="en-US"/>
              <a:t>Sources: Insert sources</a:t>
            </a:r>
            <a:endParaRPr lang="en-GB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381001" y="6149978"/>
            <a:ext cx="11442700" cy="250825"/>
          </a:xfr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Notes: Insert notes</a:t>
            </a:r>
            <a:endParaRPr lang="en-GB"/>
          </a:p>
        </p:txBody>
      </p:sp>
      <p:sp>
        <p:nvSpPr>
          <p:cNvPr id="9" name="TextBox 8"/>
          <p:cNvSpPr txBox="1"/>
          <p:nvPr userDrawn="1"/>
        </p:nvSpPr>
        <p:spPr>
          <a:xfrm rot="16200000">
            <a:off x="-355065" y="6514952"/>
            <a:ext cx="607539" cy="769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GB" sz="500">
                <a:solidFill>
                  <a:schemeClr val="accent5"/>
                </a:solidFill>
              </a:rPr>
              <a:t>AER Template</a:t>
            </a:r>
            <a:r>
              <a:rPr lang="en-GB" sz="500" baseline="0">
                <a:solidFill>
                  <a:schemeClr val="accent5"/>
                </a:solidFill>
              </a:rPr>
              <a:t> 2017a</a:t>
            </a:r>
            <a:endParaRPr lang="en-GB" sz="50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6232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trenner ohne al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"/>
          <p:cNvSpPr>
            <a:spLocks noGrp="1"/>
          </p:cNvSpPr>
          <p:nvPr>
            <p:ph type="ftr" sz="quarter" idx="11"/>
          </p:nvPr>
        </p:nvSpPr>
        <p:spPr bwMode="gray">
          <a:xfrm>
            <a:off x="2114234" y="6480000"/>
            <a:ext cx="7962087" cy="153888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prstClr val="black"/>
                </a:solidFill>
                <a:latin typeface="Calibri"/>
              </a:rPr>
              <a:t>Dr. Timm Kehler / Zukunft Gas </a:t>
            </a:r>
          </a:p>
        </p:txBody>
      </p:sp>
      <p:sp>
        <p:nvSpPr>
          <p:cNvPr id="7" name="Datum"/>
          <p:cNvSpPr>
            <a:spLocks noGrp="1"/>
          </p:cNvSpPr>
          <p:nvPr>
            <p:ph type="dt" sz="half" idx="10"/>
          </p:nvPr>
        </p:nvSpPr>
        <p:spPr bwMode="gray">
          <a:xfrm>
            <a:off x="1213409" y="6480000"/>
            <a:ext cx="960000" cy="153888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prstClr val="black"/>
                </a:solidFill>
                <a:latin typeface="Calibri"/>
              </a:rPr>
              <a:t>09/2021</a:t>
            </a:r>
          </a:p>
        </p:txBody>
      </p:sp>
      <p:sp>
        <p:nvSpPr>
          <p:cNvPr id="9" name="Chart-Nummer"/>
          <p:cNvSpPr>
            <a:spLocks noGrp="1"/>
          </p:cNvSpPr>
          <p:nvPr>
            <p:ph type="sldNum" sz="quarter" idx="12"/>
          </p:nvPr>
        </p:nvSpPr>
        <p:spPr bwMode="gray">
          <a:xfrm>
            <a:off x="541408" y="6480000"/>
            <a:ext cx="720000" cy="153888"/>
          </a:xfrm>
          <a:prstGeom prst="rect">
            <a:avLst/>
          </a:prstGeom>
        </p:spPr>
        <p:txBody>
          <a:bodyPr/>
          <a:lstStyle/>
          <a:p>
            <a:fld id="{BCE82818-D922-4274-9F47-546D22680E9D}" type="slidenum">
              <a:rPr lang="de-DE" smtClean="0">
                <a:solidFill>
                  <a:prstClr val="black"/>
                </a:solidFill>
                <a:latin typeface="Calibri"/>
              </a:rPr>
              <a:pPr/>
              <a:t>‹Nr.›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3" name="Linie"/>
          <p:cNvCxnSpPr/>
          <p:nvPr userDrawn="1"/>
        </p:nvCxnSpPr>
        <p:spPr bwMode="gray">
          <a:xfrm>
            <a:off x="336001" y="6210000"/>
            <a:ext cx="1152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91766" y="6372001"/>
            <a:ext cx="1260164" cy="279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1529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folie mit mehreren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</a:lstStyle>
          <a:p>
            <a:r>
              <a:rPr lang="de-DE" dirty="0"/>
              <a:t>Bildfolie mit mehreren Bilder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569" y="590400"/>
            <a:ext cx="11470481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r>
              <a:rPr lang="de-DE" dirty="0"/>
              <a:t>Zweite Zeile kann als </a:t>
            </a:r>
            <a:r>
              <a:rPr lang="de-DE" dirty="0" err="1"/>
              <a:t>Subline</a:t>
            </a:r>
            <a:r>
              <a:rPr lang="de-DE" dirty="0"/>
              <a:t> genutzt werden in 26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DF5BAB6-9203-49AA-81AB-92F52DD21F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9569" y="1535049"/>
            <a:ext cx="3729831" cy="2476856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F22BA2C-A6D3-4DF8-A402-1C16A3B09D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10830898" y="5255921"/>
            <a:ext cx="2303463" cy="179970"/>
          </a:xfrm>
        </p:spPr>
        <p:txBody>
          <a:bodyPr/>
          <a:lstStyle>
            <a:lvl1pPr algn="l">
              <a:lnSpc>
                <a:spcPct val="100000"/>
              </a:lnSpc>
              <a:buFontTx/>
              <a:buNone/>
              <a:defRPr sz="900"/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 marL="0" indent="0">
              <a:lnSpc>
                <a:spcPct val="100000"/>
              </a:lnSpc>
              <a:buFontTx/>
              <a:buNone/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buFontTx/>
              <a:buNone/>
              <a:defRPr sz="900" b="0"/>
            </a:lvl5pPr>
          </a:lstStyle>
          <a:p>
            <a:pPr algn="l"/>
            <a:r>
              <a:rPr lang="de-DE" sz="900" dirty="0">
                <a:solidFill>
                  <a:schemeClr val="tx1"/>
                </a:solidFill>
              </a:rPr>
              <a:t>Fotocredit (optional)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61708F2D-FD98-4DA7-BCD1-753C16518BD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47356" y="1535049"/>
            <a:ext cx="3236913" cy="24768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53779D34-D034-46FB-9C14-1408E30CFA6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645478" y="1533600"/>
            <a:ext cx="4184571" cy="496403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1378B694-62D8-4DFC-BE26-58236B104F9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669" y="4168800"/>
            <a:ext cx="2565506" cy="23256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6BBFFA1C-F7BF-4517-8D4B-1922AF198E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79287" y="4169861"/>
            <a:ext cx="4404981" cy="232695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40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5">
          <p15:clr>
            <a:srgbClr val="FBAE40"/>
          </p15:clr>
        </p15:guide>
        <p15:guide id="4" pos="7490">
          <p15:clr>
            <a:srgbClr val="FBAE40"/>
          </p15:clr>
        </p15:guide>
        <p15:guide id="5" orient="horz" pos="37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Verlauf oben nach unt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64DB98-2A5E-4FD6-9007-2BC8CE2994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4871584"/>
            <a:ext cx="11471275" cy="1088451"/>
          </a:xfrm>
        </p:spPr>
        <p:txBody>
          <a:bodyPr anchor="b" anchorCtr="0"/>
          <a:lstStyle>
            <a:lvl1pPr algn="l">
              <a:lnSpc>
                <a:spcPct val="110000"/>
              </a:lnSpc>
              <a:spcAft>
                <a:spcPts val="60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 in 36 </a:t>
            </a:r>
            <a:r>
              <a:rPr lang="de-DE" dirty="0" err="1"/>
              <a:t>pt</a:t>
            </a:r>
            <a:r>
              <a:rPr lang="de-DE" dirty="0"/>
              <a:t>., kann über </a:t>
            </a:r>
            <a:br>
              <a:rPr lang="de-DE" dirty="0"/>
            </a:br>
            <a:r>
              <a:rPr lang="de-DE" dirty="0"/>
              <a:t>eine oder zwei Zeilen lauf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1D683A-D8C3-42E7-AC48-F3455CEF14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773" y="6075568"/>
            <a:ext cx="11471275" cy="430922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Ort, 00.00.0000, Vorname Name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C49F1001-F9D8-4F37-A0D1-B04AFDFB24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000" y="5040000"/>
            <a:ext cx="1440000" cy="1440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49F1001-F9D8-4F37-A0D1-B04AFDFB24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3" y="359999"/>
            <a:ext cx="1965451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662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89">
          <p15:clr>
            <a:srgbClr val="FBAE40"/>
          </p15:clr>
        </p15:guide>
        <p15:guide id="2" orient="horz" pos="1525">
          <p15:clr>
            <a:srgbClr val="FBAE40"/>
          </p15:clr>
        </p15:guide>
        <p15:guide id="3" orient="horz" pos="147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Verlauf links nach rech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64DB98-2A5E-4FD6-9007-2BC8CE2994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4871584"/>
            <a:ext cx="11471275" cy="1088451"/>
          </a:xfrm>
        </p:spPr>
        <p:txBody>
          <a:bodyPr anchor="b" anchorCtr="0"/>
          <a:lstStyle>
            <a:lvl1pPr algn="l">
              <a:lnSpc>
                <a:spcPct val="110000"/>
              </a:lnSpc>
              <a:spcAft>
                <a:spcPts val="60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 in 36 </a:t>
            </a:r>
            <a:r>
              <a:rPr lang="de-DE" dirty="0" err="1"/>
              <a:t>pt</a:t>
            </a:r>
            <a:r>
              <a:rPr lang="de-DE" dirty="0"/>
              <a:t>., kann über </a:t>
            </a:r>
            <a:br>
              <a:rPr lang="de-DE" dirty="0"/>
            </a:br>
            <a:r>
              <a:rPr lang="de-DE" dirty="0"/>
              <a:t>eine oder zwei Zeilen lauf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1D683A-D8C3-42E7-AC48-F3455CEF14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773" y="6075568"/>
            <a:ext cx="11471275" cy="430922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Ort, 00.00.0000, Vorname Name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C49F1001-F9D8-4F37-A0D1-B04AFDFB24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000" y="5040000"/>
            <a:ext cx="1440000" cy="1440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49F1001-F9D8-4F37-A0D1-B04AFDFB24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3" y="359999"/>
            <a:ext cx="1965451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733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89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orient="horz" pos="147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FFF80835-01D9-407C-AC81-ED2D62C309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76000"/>
          </a:xfrm>
          <a:noFill/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663EF11-0E73-4E6E-9D06-FB9F6235E1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8773" y="548680"/>
            <a:ext cx="5940000" cy="5940000"/>
          </a:xfrm>
          <a:blipFill dpi="0" rotWithShape="1">
            <a:blip r:embed="rId2">
              <a:alphaModFix amt="90000"/>
            </a:blip>
            <a:srcRect/>
            <a:stretch>
              <a:fillRect/>
            </a:stretch>
          </a:blipFill>
        </p:spPr>
        <p:txBody>
          <a:bodyPr wrap="square" lIns="360000" tIns="2880000" rIns="360000" bIns="360000" anchor="b" anchorCtr="0"/>
          <a:lstStyle>
            <a:lvl1pPr marL="0" indent="0">
              <a:lnSpc>
                <a:spcPct val="110000"/>
              </a:lnSpc>
              <a:defRPr sz="3600" b="1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>
              <a:spcBef>
                <a:spcPts val="0"/>
              </a:spcBef>
              <a:defRPr b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49F1001-F9D8-4F37-A0D1-B04AFDFB24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764704"/>
            <a:ext cx="1684672" cy="1080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49F1001-F9D8-4F37-A0D1-B04AFDFB24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000" y="5040000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317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603">
          <p15:clr>
            <a:srgbClr val="FBAE40"/>
          </p15:clr>
        </p15:guide>
        <p15:guide id="5" orient="horz" pos="3231">
          <p15:clr>
            <a:srgbClr val="FBAE40"/>
          </p15:clr>
        </p15:guide>
        <p15:guide id="6" orient="horz" pos="354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FFF80835-01D9-407C-AC81-ED2D62C309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4406400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663EF11-0E73-4E6E-9D06-FB9F6235E1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2253600"/>
            <a:ext cx="12192000" cy="4604400"/>
          </a:xfrm>
          <a:blipFill>
            <a:blip r:embed="rId2"/>
            <a:stretch>
              <a:fillRect/>
            </a:stretch>
          </a:blipFill>
        </p:spPr>
        <p:txBody>
          <a:bodyPr wrap="square" lIns="360000" tIns="2437200" rIns="360000" bIns="1188000" anchor="b" anchorCtr="0"/>
          <a:lstStyle>
            <a:lvl1pPr>
              <a:lnSpc>
                <a:spcPts val="4200"/>
              </a:lnSpc>
              <a:defRPr sz="3600" b="1">
                <a:solidFill>
                  <a:schemeClr val="bg1"/>
                </a:solidFill>
              </a:defRPr>
            </a:lvl1pPr>
            <a:lvl2pPr marL="0" indent="0">
              <a:lnSpc>
                <a:spcPts val="3000"/>
              </a:lnSpc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>
              <a:spcBef>
                <a:spcPts val="0"/>
              </a:spcBef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Ort, 00.00.0000, Vorname Nam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7C59998-B257-4CA0-AF21-F089E1A6E4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68400" y="5785200"/>
            <a:ext cx="2509200" cy="640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55898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603">
          <p15:clr>
            <a:srgbClr val="FBAE40"/>
          </p15:clr>
        </p15:guide>
        <p15:guide id="5" orient="horz" pos="3231">
          <p15:clr>
            <a:srgbClr val="FBAE40"/>
          </p15:clr>
        </p15:guide>
        <p15:guide id="6" orient="horz" pos="354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CDE91C-3FB2-4339-8885-8354781E5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100" y="1060165"/>
            <a:ext cx="11453811" cy="593415"/>
          </a:xfrm>
        </p:spPr>
        <p:txBody>
          <a:bodyPr anchor="b"/>
          <a:lstStyle>
            <a:lvl1pPr>
              <a:lnSpc>
                <a:spcPct val="110000"/>
              </a:lnSpc>
              <a:spcAft>
                <a:spcPts val="60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trennfolie einzeilig, 3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13FE863-F250-4B0C-A295-65DE50556C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8774" y="1756106"/>
            <a:ext cx="11471275" cy="4741532"/>
          </a:xfrm>
        </p:spPr>
        <p:txBody>
          <a:bodyPr/>
          <a:lstStyle>
            <a:lvl1pPr marL="540000" indent="-540000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2600" baseline="0">
                <a:solidFill>
                  <a:schemeClr val="bg1"/>
                </a:solidFill>
              </a:defRPr>
            </a:lvl1pPr>
            <a:lvl2pPr marL="0" indent="0">
              <a:lnSpc>
                <a:spcPct val="140000"/>
              </a:lnSpc>
              <a:spcAft>
                <a:spcPts val="0"/>
              </a:spcAft>
              <a:buClr>
                <a:schemeClr val="bg1"/>
              </a:buClr>
              <a:buFontTx/>
              <a:buNone/>
              <a:defRPr sz="2600">
                <a:solidFill>
                  <a:schemeClr val="bg1"/>
                </a:solidFill>
              </a:defRPr>
            </a:lvl2pPr>
            <a:lvl3pPr marL="0" indent="0">
              <a:lnSpc>
                <a:spcPct val="140000"/>
              </a:lnSpc>
              <a:spcAft>
                <a:spcPts val="0"/>
              </a:spcAft>
              <a:buClr>
                <a:schemeClr val="bg1"/>
              </a:buClr>
              <a:buFontTx/>
              <a:buNone/>
              <a:defRPr sz="2600">
                <a:solidFill>
                  <a:schemeClr val="bg1"/>
                </a:solidFill>
              </a:defRPr>
            </a:lvl3pPr>
            <a:lvl4pPr marL="0" indent="0">
              <a:lnSpc>
                <a:spcPct val="140000"/>
              </a:lnSpc>
              <a:spcAft>
                <a:spcPts val="0"/>
              </a:spcAft>
              <a:buClr>
                <a:schemeClr val="bg1"/>
              </a:buClr>
              <a:buFontTx/>
              <a:buNone/>
              <a:defRPr sz="2600">
                <a:solidFill>
                  <a:schemeClr val="bg1"/>
                </a:solidFill>
              </a:defRPr>
            </a:lvl4pPr>
            <a:lvl5pPr marL="0" inden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Tx/>
              <a:buNone/>
              <a:defRPr sz="26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nn auch als Agenda genutzt werden</a:t>
            </a:r>
          </a:p>
          <a:p>
            <a:pPr lvl="0"/>
            <a:r>
              <a:rPr lang="de-DE" dirty="0"/>
              <a:t>Punkte der Agenda</a:t>
            </a:r>
          </a:p>
          <a:p>
            <a:pPr lvl="0"/>
            <a:r>
              <a:rPr lang="de-DE" dirty="0"/>
              <a:t>Punkte der Agenda</a:t>
            </a:r>
          </a:p>
        </p:txBody>
      </p:sp>
    </p:spTree>
    <p:extLst>
      <p:ext uri="{BB962C8B-B14F-4D97-AF65-F5344CB8AC3E}">
        <p14:creationId xmlns:p14="http://schemas.microsoft.com/office/powerpoint/2010/main" val="1906712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8">
          <p15:clr>
            <a:srgbClr val="FBAE40"/>
          </p15:clr>
        </p15:guide>
        <p15:guide id="2" orient="horz" pos="1104">
          <p15:clr>
            <a:srgbClr val="FBAE40"/>
          </p15:clr>
        </p15:guide>
        <p15:guide id="3" orient="horz" pos="104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baseline="0"/>
            </a:lvl1pPr>
          </a:lstStyle>
          <a:p>
            <a:r>
              <a:rPr lang="de-DE" dirty="0"/>
              <a:t>Textfolie, 26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569" y="590400"/>
            <a:ext cx="11473631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r>
              <a:rPr lang="de-DE" dirty="0"/>
              <a:t>Zweite Zeile kann als </a:t>
            </a:r>
            <a:r>
              <a:rPr lang="de-DE" dirty="0" err="1"/>
              <a:t>Subline</a:t>
            </a:r>
            <a:r>
              <a:rPr lang="de-DE" dirty="0"/>
              <a:t> genutzt werden in 26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8EE7689-48EA-444D-8822-A51ABBB307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62400"/>
            <a:ext cx="11473200" cy="4935600"/>
          </a:xfrm>
        </p:spPr>
        <p:txBody>
          <a:bodyPr/>
          <a:lstStyle>
            <a:lvl1pPr marL="342000" indent="-342000">
              <a:lnSpc>
                <a:spcPct val="110000"/>
              </a:lnSpc>
              <a:spcAft>
                <a:spcPts val="600"/>
              </a:spcAft>
              <a:defRPr baseline="0"/>
            </a:lvl1pPr>
            <a:lvl2pPr marL="342000" indent="-342000">
              <a:lnSpc>
                <a:spcPct val="110000"/>
              </a:lnSpc>
              <a:spcAft>
                <a:spcPts val="600"/>
              </a:spcAft>
              <a:defRPr/>
            </a:lvl2pPr>
            <a:lvl3pPr marL="342000" indent="-342000">
              <a:lnSpc>
                <a:spcPct val="110000"/>
              </a:lnSpc>
              <a:spcAft>
                <a:spcPts val="600"/>
              </a:spcAft>
              <a:defRPr baseline="0"/>
            </a:lvl3pPr>
            <a:lvl4pPr marL="342000" indent="-342000">
              <a:lnSpc>
                <a:spcPct val="110000"/>
              </a:lnSpc>
              <a:spcAft>
                <a:spcPts val="600"/>
              </a:spcAft>
              <a:defRPr baseline="0"/>
            </a:lvl4pPr>
            <a:lvl5pPr marL="342000" indent="-342000">
              <a:lnSpc>
                <a:spcPct val="110000"/>
              </a:lnSpc>
              <a:spcAft>
                <a:spcPts val="600"/>
              </a:spcAft>
              <a:defRPr baseline="0"/>
            </a:lvl5pPr>
          </a:lstStyle>
          <a:p>
            <a:pPr lvl="0"/>
            <a:r>
              <a:rPr lang="de-DE" dirty="0"/>
              <a:t>Listenebene 1, Ubuntu Regular 20/30 </a:t>
            </a:r>
            <a:r>
              <a:rPr lang="de-DE" dirty="0" err="1"/>
              <a:t>pt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Listenebene 2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Listenebene 3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Listenebene 4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Listenebene 5, Ubuntu Regular 20/30 </a:t>
            </a:r>
            <a:r>
              <a:rPr lang="de-DE" dirty="0" err="1"/>
              <a:t>pt</a:t>
            </a:r>
            <a:r>
              <a:rPr lang="de-DE" dirty="0"/>
              <a:t>., Abstand vor: 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23808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FBAE40"/>
          </p15:clr>
        </p15:guide>
        <p15:guide id="2" orient="horz" pos="37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</a:lstStyle>
          <a:p>
            <a:r>
              <a:rPr lang="de-DE" dirty="0"/>
              <a:t>Text-Bildfoli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569" y="590400"/>
            <a:ext cx="11470480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r>
              <a:rPr lang="de-DE" dirty="0"/>
              <a:t>Zweite Zeile kann als </a:t>
            </a:r>
            <a:r>
              <a:rPr lang="de-DE" dirty="0" err="1"/>
              <a:t>Subline</a:t>
            </a:r>
            <a:r>
              <a:rPr lang="de-DE" dirty="0"/>
              <a:t> genutzt werden in 26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E28BC4B-FC75-4F47-A985-66DEDE1A23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62400"/>
            <a:ext cx="5088300" cy="4935600"/>
          </a:xfrm>
        </p:spPr>
        <p:txBody>
          <a:bodyPr/>
          <a:lstStyle>
            <a:lvl1pPr marL="342000" indent="-342000">
              <a:lnSpc>
                <a:spcPct val="110000"/>
              </a:lnSpc>
              <a:spcAft>
                <a:spcPts val="600"/>
              </a:spcAft>
              <a:defRPr/>
            </a:lvl1pPr>
            <a:lvl2pPr marL="342000" indent="-342000">
              <a:lnSpc>
                <a:spcPct val="110000"/>
              </a:lnSpc>
              <a:spcAft>
                <a:spcPts val="600"/>
              </a:spcAft>
              <a:buClr>
                <a:schemeClr val="bg2"/>
              </a:buClr>
              <a:defRPr/>
            </a:lvl2pPr>
            <a:lvl3pPr marL="342000" indent="-342000">
              <a:lnSpc>
                <a:spcPct val="110000"/>
              </a:lnSpc>
              <a:spcAft>
                <a:spcPts val="600"/>
              </a:spcAft>
              <a:buClr>
                <a:schemeClr val="bg2"/>
              </a:buClr>
              <a:buFont typeface="Ubuntu" panose="020B0504030602030204" pitchFamily="34" charset="0"/>
              <a:buChar char="•"/>
              <a:defRPr/>
            </a:lvl3pPr>
            <a:lvl4pPr marL="342000" indent="-342000">
              <a:lnSpc>
                <a:spcPct val="110000"/>
              </a:lnSpc>
              <a:spcAft>
                <a:spcPts val="600"/>
              </a:spcAft>
              <a:buClr>
                <a:schemeClr val="bg2"/>
              </a:buClr>
              <a:buFont typeface="Ubuntu" panose="020B0504030602030204" pitchFamily="34" charset="0"/>
              <a:buChar char="•"/>
              <a:defRPr/>
            </a:lvl4pPr>
            <a:lvl5pPr marL="0" indent="0"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de-DE" dirty="0"/>
              <a:t>Listenebene 1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Listenebene 2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Listenebene 3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Listenebene 4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Listenebene 5, Ubuntu Regular 20/30 </a:t>
            </a:r>
            <a:r>
              <a:rPr lang="de-DE" dirty="0" err="1"/>
              <a:t>pt</a:t>
            </a:r>
            <a:r>
              <a:rPr lang="de-DE" dirty="0"/>
              <a:t>., Abstand vor: 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DF5BAB6-9203-49AA-81AB-92F52DD21F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1535049"/>
            <a:ext cx="5734050" cy="4962589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F22BA2C-A6D3-4DF8-A402-1C16A3B09D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10830898" y="5255921"/>
            <a:ext cx="2303463" cy="179970"/>
          </a:xfrm>
        </p:spPr>
        <p:txBody>
          <a:bodyPr/>
          <a:lstStyle>
            <a:lvl1pPr algn="l">
              <a:lnSpc>
                <a:spcPct val="100000"/>
              </a:lnSpc>
              <a:buFontTx/>
              <a:buNone/>
              <a:defRPr sz="900"/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 marL="0" indent="0">
              <a:lnSpc>
                <a:spcPct val="100000"/>
              </a:lnSpc>
              <a:buFontTx/>
              <a:buNone/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buFontTx/>
              <a:buNone/>
              <a:defRPr sz="900" b="0"/>
            </a:lvl5pPr>
          </a:lstStyle>
          <a:p>
            <a:pPr algn="l"/>
            <a:r>
              <a:rPr lang="de-DE" sz="900" dirty="0">
                <a:solidFill>
                  <a:schemeClr val="tx1"/>
                </a:solidFill>
              </a:rPr>
              <a:t>Fotocredit (optional)</a:t>
            </a:r>
          </a:p>
        </p:txBody>
      </p:sp>
    </p:spTree>
    <p:extLst>
      <p:ext uri="{BB962C8B-B14F-4D97-AF65-F5344CB8AC3E}">
        <p14:creationId xmlns:p14="http://schemas.microsoft.com/office/powerpoint/2010/main" val="917639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FBAE40"/>
          </p15:clr>
        </p15:guide>
        <p15:guide id="2" pos="3840">
          <p15:clr>
            <a:srgbClr val="FBAE40"/>
          </p15:clr>
        </p15:guide>
        <p15:guide id="3" pos="3432">
          <p15:clr>
            <a:srgbClr val="FBAE40"/>
          </p15:clr>
        </p15:guide>
        <p15:guide id="4" pos="7490">
          <p15:clr>
            <a:srgbClr val="FBAE40"/>
          </p15:clr>
        </p15:guide>
        <p15:guide id="5" orient="horz" pos="371">
          <p15:clr>
            <a:srgbClr val="FBAE40"/>
          </p15:clr>
        </p15:guide>
        <p15:guide id="6" orient="horz" pos="96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50: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</a:lstStyle>
          <a:p>
            <a:r>
              <a:rPr lang="de-DE" dirty="0"/>
              <a:t>Textfolie 50:50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569" y="590400"/>
            <a:ext cx="11470480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r>
              <a:rPr lang="de-DE" dirty="0"/>
              <a:t>Zweite Zeile kann als </a:t>
            </a:r>
            <a:r>
              <a:rPr lang="de-DE" dirty="0" err="1"/>
              <a:t>Subline</a:t>
            </a:r>
            <a:r>
              <a:rPr lang="de-DE" dirty="0"/>
              <a:t> genutzt werden in 26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E28BC4B-FC75-4F47-A985-66DEDE1A23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62400"/>
            <a:ext cx="5088300" cy="4935600"/>
          </a:xfrm>
        </p:spPr>
        <p:txBody>
          <a:bodyPr/>
          <a:lstStyle>
            <a:lvl1pPr marL="342000" indent="-342000">
              <a:lnSpc>
                <a:spcPct val="110000"/>
              </a:lnSpc>
              <a:spcAft>
                <a:spcPts val="600"/>
              </a:spcAft>
              <a:defRPr/>
            </a:lvl1pPr>
            <a:lvl2pPr marL="342000" indent="-342000">
              <a:lnSpc>
                <a:spcPct val="110000"/>
              </a:lnSpc>
              <a:spcAft>
                <a:spcPts val="600"/>
              </a:spcAft>
              <a:defRPr/>
            </a:lvl2pPr>
            <a:lvl3pPr marL="342000" indent="-342000">
              <a:lnSpc>
                <a:spcPct val="110000"/>
              </a:lnSpc>
              <a:spcAft>
                <a:spcPts val="600"/>
              </a:spcAft>
              <a:defRPr/>
            </a:lvl3pPr>
            <a:lvl4pPr marL="342000" indent="-342000">
              <a:lnSpc>
                <a:spcPct val="110000"/>
              </a:lnSpc>
              <a:spcAft>
                <a:spcPts val="600"/>
              </a:spcAft>
              <a:defRPr/>
            </a:lvl4pPr>
            <a:lvl5pPr marL="0" indent="0"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de-DE" dirty="0"/>
              <a:t>Listenebene 1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Listenebene 2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Listenebene 3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Listenebene 4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Listenebene 5, Ubuntu Regular 20/30 </a:t>
            </a:r>
            <a:r>
              <a:rPr lang="de-DE" dirty="0" err="1"/>
              <a:t>pt</a:t>
            </a:r>
            <a:r>
              <a:rPr lang="de-DE" dirty="0"/>
              <a:t>.,</a:t>
            </a:r>
            <a:br>
              <a:rPr lang="de-DE" dirty="0"/>
            </a:br>
            <a:r>
              <a:rPr lang="de-DE" dirty="0"/>
              <a:t>Abstand vor: 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F22BA2C-A6D3-4DF8-A402-1C16A3B09D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10830898" y="5255921"/>
            <a:ext cx="2303463" cy="179970"/>
          </a:xfrm>
        </p:spPr>
        <p:txBody>
          <a:bodyPr/>
          <a:lstStyle>
            <a:lvl1pPr algn="l">
              <a:lnSpc>
                <a:spcPct val="100000"/>
              </a:lnSpc>
              <a:buFontTx/>
              <a:buNone/>
              <a:defRPr sz="900"/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 marL="0" indent="0">
              <a:lnSpc>
                <a:spcPct val="100000"/>
              </a:lnSpc>
              <a:buFontTx/>
              <a:buNone/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buFontTx/>
              <a:buNone/>
              <a:defRPr sz="900" b="0"/>
            </a:lvl5pPr>
          </a:lstStyle>
          <a:p>
            <a:pPr algn="l"/>
            <a:r>
              <a:rPr lang="de-DE" sz="900" dirty="0">
                <a:solidFill>
                  <a:schemeClr val="tx1"/>
                </a:solidFill>
              </a:rPr>
              <a:t>Fotocredit (optional)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0ABA6658-5D5A-4791-81D6-B7551BF040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6020" y="1562400"/>
            <a:ext cx="5088300" cy="4935600"/>
          </a:xfrm>
        </p:spPr>
        <p:txBody>
          <a:bodyPr/>
          <a:lstStyle>
            <a:lvl1pPr marL="342000" indent="-342000">
              <a:lnSpc>
                <a:spcPct val="110000"/>
              </a:lnSpc>
              <a:spcAft>
                <a:spcPts val="600"/>
              </a:spcAft>
              <a:defRPr/>
            </a:lvl1pPr>
            <a:lvl2pPr marL="342000" indent="-342000">
              <a:lnSpc>
                <a:spcPct val="110000"/>
              </a:lnSpc>
              <a:spcAft>
                <a:spcPts val="600"/>
              </a:spcAft>
              <a:defRPr/>
            </a:lvl2pPr>
            <a:lvl3pPr marL="342000" indent="-342000">
              <a:lnSpc>
                <a:spcPct val="110000"/>
              </a:lnSpc>
              <a:spcAft>
                <a:spcPts val="600"/>
              </a:spcAft>
              <a:defRPr/>
            </a:lvl3pPr>
            <a:lvl4pPr marL="342000" indent="-342000">
              <a:lnSpc>
                <a:spcPct val="110000"/>
              </a:lnSpc>
              <a:spcAft>
                <a:spcPts val="600"/>
              </a:spcAft>
              <a:defRPr/>
            </a:lvl4pPr>
            <a:lvl5pPr marL="0" indent="0"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de-DE" dirty="0"/>
              <a:t>Listenebene 1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Listenebene 2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Listenebene 3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Listenebene 4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Listenebene 5, Ubuntu Regular 20/30 </a:t>
            </a:r>
            <a:r>
              <a:rPr lang="de-DE" dirty="0" err="1"/>
              <a:t>pt</a:t>
            </a:r>
            <a:r>
              <a:rPr lang="de-DE" dirty="0"/>
              <a:t>., Abstand vor: 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7853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FBAE40"/>
          </p15:clr>
        </p15:guide>
        <p15:guide id="2" pos="3840">
          <p15:clr>
            <a:srgbClr val="FBAE40"/>
          </p15:clr>
        </p15:guide>
        <p15:guide id="3" pos="3432">
          <p15:clr>
            <a:srgbClr val="FBAE40"/>
          </p15:clr>
        </p15:guide>
        <p15:guide id="4" pos="7490">
          <p15:clr>
            <a:srgbClr val="FBAE40"/>
          </p15:clr>
        </p15:guide>
        <p15:guide id="5" orient="horz" pos="371">
          <p15:clr>
            <a:srgbClr val="FBAE40"/>
          </p15:clr>
        </p15:guide>
        <p15:guide id="6" orient="horz" pos="96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</a:lstStyle>
          <a:p>
            <a:r>
              <a:rPr lang="de-DE" dirty="0"/>
              <a:t>Bildfolie mit Überschrif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569" y="590400"/>
            <a:ext cx="11470480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r>
              <a:rPr lang="de-DE" dirty="0"/>
              <a:t>Zweite Zeile kann als </a:t>
            </a:r>
            <a:r>
              <a:rPr lang="de-DE" dirty="0" err="1"/>
              <a:t>Subline</a:t>
            </a:r>
            <a:r>
              <a:rPr lang="de-DE" dirty="0"/>
              <a:t> genutzt werden in 26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DF5BAB6-9203-49AA-81AB-92F52DD21F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9569" y="1535049"/>
            <a:ext cx="11470481" cy="4962589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F22BA2C-A6D3-4DF8-A402-1C16A3B09D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10830898" y="5255921"/>
            <a:ext cx="2303463" cy="179970"/>
          </a:xfrm>
        </p:spPr>
        <p:txBody>
          <a:bodyPr/>
          <a:lstStyle>
            <a:lvl1pPr algn="l">
              <a:lnSpc>
                <a:spcPct val="100000"/>
              </a:lnSpc>
              <a:buFontTx/>
              <a:buNone/>
              <a:defRPr sz="900"/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 marL="0" indent="0">
              <a:lnSpc>
                <a:spcPct val="100000"/>
              </a:lnSpc>
              <a:buFontTx/>
              <a:buNone/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buFontTx/>
              <a:buNone/>
              <a:defRPr sz="900" b="0"/>
            </a:lvl5pPr>
          </a:lstStyle>
          <a:p>
            <a:pPr algn="l"/>
            <a:r>
              <a:rPr lang="de-DE" sz="900" dirty="0">
                <a:solidFill>
                  <a:schemeClr val="tx1"/>
                </a:solidFill>
              </a:rPr>
              <a:t>Fotocredit (optional)</a:t>
            </a:r>
          </a:p>
        </p:txBody>
      </p:sp>
    </p:spTree>
    <p:extLst>
      <p:ext uri="{BB962C8B-B14F-4D97-AF65-F5344CB8AC3E}">
        <p14:creationId xmlns:p14="http://schemas.microsoft.com/office/powerpoint/2010/main" val="2978901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6">
          <p15:clr>
            <a:srgbClr val="FBAE40"/>
          </p15:clr>
        </p15:guide>
        <p15:guide id="4" pos="7490">
          <p15:clr>
            <a:srgbClr val="FBAE40"/>
          </p15:clr>
        </p15:guide>
        <p15:guide id="5" orient="horz" pos="37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 mit mehreren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</a:lstStyle>
          <a:p>
            <a:r>
              <a:rPr lang="de-DE" dirty="0"/>
              <a:t>Bildfolie mit mehreren Bilder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569" y="590400"/>
            <a:ext cx="11470481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r>
              <a:rPr lang="de-DE" dirty="0"/>
              <a:t>Zweite Zeile kann als </a:t>
            </a:r>
            <a:r>
              <a:rPr lang="de-DE" dirty="0" err="1"/>
              <a:t>Subline</a:t>
            </a:r>
            <a:r>
              <a:rPr lang="de-DE" dirty="0"/>
              <a:t> genutzt werden in 26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DF5BAB6-9203-49AA-81AB-92F52DD21F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9569" y="1535049"/>
            <a:ext cx="3729831" cy="2476856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F22BA2C-A6D3-4DF8-A402-1C16A3B09D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10830898" y="5255921"/>
            <a:ext cx="2303463" cy="179970"/>
          </a:xfrm>
        </p:spPr>
        <p:txBody>
          <a:bodyPr/>
          <a:lstStyle>
            <a:lvl1pPr algn="l">
              <a:lnSpc>
                <a:spcPct val="100000"/>
              </a:lnSpc>
              <a:buFontTx/>
              <a:buNone/>
              <a:defRPr sz="900"/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 marL="0" indent="0">
              <a:lnSpc>
                <a:spcPct val="100000"/>
              </a:lnSpc>
              <a:buFontTx/>
              <a:buNone/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buFontTx/>
              <a:buNone/>
              <a:defRPr sz="900" b="0"/>
            </a:lvl5pPr>
          </a:lstStyle>
          <a:p>
            <a:pPr algn="l"/>
            <a:r>
              <a:rPr lang="de-DE" sz="900" dirty="0">
                <a:solidFill>
                  <a:schemeClr val="tx1"/>
                </a:solidFill>
              </a:rPr>
              <a:t>Fotocredit (optional)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61708F2D-FD98-4DA7-BCD1-753C16518BD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47356" y="1535049"/>
            <a:ext cx="3236913" cy="24768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53779D34-D034-46FB-9C14-1408E30CFA6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645478" y="1533600"/>
            <a:ext cx="4184571" cy="4964038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1378B694-62D8-4DFC-BE26-58236B104F9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669" y="4168800"/>
            <a:ext cx="2565506" cy="23256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6BBFFA1C-F7BF-4517-8D4B-1922AF198E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79287" y="4169861"/>
            <a:ext cx="4404981" cy="232695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0557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5">
          <p15:clr>
            <a:srgbClr val="FBAE40"/>
          </p15:clr>
        </p15:guide>
        <p15:guide id="4" pos="7490">
          <p15:clr>
            <a:srgbClr val="FBAE40"/>
          </p15:clr>
        </p15:guide>
        <p15:guide id="5" orient="horz" pos="37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n mit weißer Text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DF5BAB6-9203-49AA-81AB-92F52DD21F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1999" cy="6857999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058A20B-2B1A-4D51-A22E-CB800B698B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83381"/>
            <a:ext cx="5737226" cy="3117600"/>
          </a:xfrm>
          <a:solidFill>
            <a:schemeClr val="bg1"/>
          </a:solidFill>
        </p:spPr>
        <p:txBody>
          <a:bodyPr lIns="252000" tIns="180000" rIns="180000" bIns="252000"/>
          <a:lstStyle>
            <a:lvl1pPr marL="342000" indent="-342000">
              <a:lnSpc>
                <a:spcPct val="110000"/>
              </a:lnSpc>
              <a:spcAft>
                <a:spcPts val="600"/>
              </a:spcAft>
              <a:defRPr b="1" baseline="0">
                <a:solidFill>
                  <a:schemeClr val="bg2"/>
                </a:solidFill>
              </a:defRPr>
            </a:lvl1pPr>
            <a:lvl2pPr marL="342000" indent="-342000">
              <a:lnSpc>
                <a:spcPct val="110000"/>
              </a:lnSpc>
              <a:spcAft>
                <a:spcPts val="600"/>
              </a:spcAft>
              <a:buFontTx/>
              <a:buNone/>
              <a:defRPr baseline="0"/>
            </a:lvl2pPr>
            <a:lvl3pPr marL="342000" indent="-342000">
              <a:lnSpc>
                <a:spcPct val="110000"/>
              </a:lnSpc>
              <a:spcAft>
                <a:spcPts val="600"/>
              </a:spcAft>
              <a:defRPr baseline="0"/>
            </a:lvl3pPr>
            <a:lvl4pPr marL="342000" indent="-342000">
              <a:lnSpc>
                <a:spcPct val="110000"/>
              </a:lnSpc>
              <a:spcAft>
                <a:spcPts val="600"/>
              </a:spcAft>
              <a:defRPr baseline="0"/>
            </a:lvl4pPr>
            <a:lvl5pPr marL="342000" indent="-342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b="0" baseline="0"/>
            </a:lvl5pPr>
            <a:lvl6pPr marL="270000" indent="-2700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2000" b="1"/>
            </a:lvl6pPr>
          </a:lstStyle>
          <a:p>
            <a:pPr lvl="0"/>
            <a:r>
              <a:rPr lang="de-DE" dirty="0"/>
              <a:t>Bildfolien mit weißer </a:t>
            </a:r>
            <a:r>
              <a:rPr lang="de-DE" dirty="0" err="1"/>
              <a:t>Textbox</a:t>
            </a:r>
            <a:r>
              <a:rPr lang="de-DE" dirty="0"/>
              <a:t> (Ebene 1)</a:t>
            </a:r>
          </a:p>
          <a:p>
            <a:pPr lvl="1"/>
            <a:r>
              <a:rPr lang="de-DE" dirty="0"/>
              <a:t>Listenebene 2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Harter Zeilenumbruch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8446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</a:lstStyle>
          <a:p>
            <a:r>
              <a:rPr lang="de-DE" dirty="0"/>
              <a:t>Folie mit Diagramm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569" y="590400"/>
            <a:ext cx="11470481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r>
              <a:rPr lang="de-DE" dirty="0"/>
              <a:t>Zweite Zeile kann als </a:t>
            </a:r>
            <a:r>
              <a:rPr lang="de-DE" dirty="0" err="1"/>
              <a:t>Subline</a:t>
            </a:r>
            <a:r>
              <a:rPr lang="de-DE" dirty="0"/>
              <a:t> genutzt werden in 26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D735D1A3-0A98-4BDF-9225-3DA886E876D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360000" y="1562400"/>
            <a:ext cx="11473200" cy="49356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5118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FBAE40"/>
          </p15:clr>
        </p15:guide>
        <p15:guide id="2" orient="horz" pos="37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 mit Diagramm und Tex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569" y="590400"/>
            <a:ext cx="11470481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r>
              <a:rPr lang="de-DE" dirty="0"/>
              <a:t>Zweite Zeile kann als </a:t>
            </a:r>
            <a:r>
              <a:rPr lang="de-DE" dirty="0" err="1"/>
              <a:t>Subline</a:t>
            </a:r>
            <a:r>
              <a:rPr lang="de-DE" dirty="0"/>
              <a:t> genutzt werden in 26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E28BC4B-FC75-4F47-A985-66DEDE1A23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62400"/>
            <a:ext cx="5088300" cy="4935600"/>
          </a:xfrm>
        </p:spPr>
        <p:txBody>
          <a:bodyPr/>
          <a:lstStyle>
            <a:lvl1pPr marL="342000" indent="-342000">
              <a:lnSpc>
                <a:spcPct val="110000"/>
              </a:lnSpc>
              <a:spcAft>
                <a:spcPts val="600"/>
              </a:spcAft>
              <a:defRPr/>
            </a:lvl1pPr>
            <a:lvl2pPr marL="342000" indent="-342000">
              <a:lnSpc>
                <a:spcPct val="110000"/>
              </a:lnSpc>
              <a:spcAft>
                <a:spcPts val="600"/>
              </a:spcAft>
              <a:defRPr/>
            </a:lvl2pPr>
            <a:lvl3pPr marL="342000" indent="-342000">
              <a:lnSpc>
                <a:spcPct val="110000"/>
              </a:lnSpc>
              <a:spcAft>
                <a:spcPts val="600"/>
              </a:spcAft>
              <a:defRPr/>
            </a:lvl3pPr>
            <a:lvl4pPr marL="342000" indent="-342000">
              <a:lnSpc>
                <a:spcPct val="110000"/>
              </a:lnSpc>
              <a:spcAft>
                <a:spcPts val="600"/>
              </a:spcAft>
              <a:defRPr/>
            </a:lvl4pPr>
            <a:lvl5pPr marL="0" indent="0"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de-DE" dirty="0"/>
              <a:t>Listenebene 1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Listenebene 2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Listenebene 3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Listenebene 4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Listenebene 5, Ubuntu Regular 20/30 </a:t>
            </a:r>
            <a:r>
              <a:rPr lang="de-DE" dirty="0" err="1"/>
              <a:t>pt</a:t>
            </a:r>
            <a:r>
              <a:rPr lang="de-DE" dirty="0"/>
              <a:t>., Abstand vor: 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6" name="Diagrammplatzhalter 5">
            <a:extLst>
              <a:ext uri="{FF2B5EF4-FFF2-40B4-BE49-F238E27FC236}">
                <a16:creationId xmlns:a16="http://schemas.microsoft.com/office/drawing/2014/main" id="{5C2E71F0-D14C-48EA-9164-C66C5EF6AE43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096000" y="1533600"/>
            <a:ext cx="5734050" cy="49644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1391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FBAE40"/>
          </p15:clr>
        </p15:guide>
        <p15:guide id="2" pos="3840">
          <p15:clr>
            <a:srgbClr val="FBAE40"/>
          </p15:clr>
        </p15:guide>
        <p15:guide id="3" pos="3432">
          <p15:clr>
            <a:srgbClr val="FBAE40"/>
          </p15:clr>
        </p15:guide>
        <p15:guide id="4" orient="horz" pos="371">
          <p15:clr>
            <a:srgbClr val="FBAE40"/>
          </p15:clr>
        </p15:guide>
        <p15:guide id="5" orient="horz" pos="96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</a:lstStyle>
          <a:p>
            <a:r>
              <a:rPr lang="de-DE" dirty="0"/>
              <a:t>Folie mit zwei Diagramm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569" y="590400"/>
            <a:ext cx="11470480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r>
              <a:rPr lang="de-DE" dirty="0"/>
              <a:t>Zweite Zeile kann als </a:t>
            </a:r>
            <a:r>
              <a:rPr lang="de-DE" dirty="0" err="1"/>
              <a:t>Subline</a:t>
            </a:r>
            <a:r>
              <a:rPr lang="de-DE" dirty="0"/>
              <a:t> genutzt werden in 26 </a:t>
            </a:r>
            <a:r>
              <a:rPr lang="de-DE" dirty="0" err="1"/>
              <a:t>pt</a:t>
            </a:r>
            <a:r>
              <a:rPr lang="de-DE" dirty="0"/>
              <a:t> Schriftgröße</a:t>
            </a:r>
          </a:p>
        </p:txBody>
      </p:sp>
      <p:sp>
        <p:nvSpPr>
          <p:cNvPr id="6" name="Diagrammplatzhalter 5">
            <a:extLst>
              <a:ext uri="{FF2B5EF4-FFF2-40B4-BE49-F238E27FC236}">
                <a16:creationId xmlns:a16="http://schemas.microsoft.com/office/drawing/2014/main" id="{5C2E71F0-D14C-48EA-9164-C66C5EF6AE43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465569" y="1533600"/>
            <a:ext cx="5374800" cy="4964400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FD66D63F-ECFC-4869-9513-D575E46233BB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360000" y="1533600"/>
            <a:ext cx="5374800" cy="49644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Diagramm durch Klicken auf Symbol</a:t>
            </a:r>
            <a:br>
              <a:rPr lang="de-DE" dirty="0"/>
            </a:br>
            <a:r>
              <a:rPr lang="de-DE" dirty="0"/>
              <a:t>hinzufügen</a:t>
            </a:r>
          </a:p>
        </p:txBody>
      </p:sp>
    </p:spTree>
    <p:extLst>
      <p:ext uri="{BB962C8B-B14F-4D97-AF65-F5344CB8AC3E}">
        <p14:creationId xmlns:p14="http://schemas.microsoft.com/office/powerpoint/2010/main" val="2030053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FBAE40"/>
          </p15:clr>
        </p15:guide>
        <p15:guide id="2" pos="4073">
          <p15:clr>
            <a:srgbClr val="FBAE40"/>
          </p15:clr>
        </p15:guide>
        <p15:guide id="3" pos="3614">
          <p15:clr>
            <a:srgbClr val="FBAE40"/>
          </p15:clr>
        </p15:guide>
        <p15:guide id="4" orient="horz" pos="37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CDE91C-3FB2-4339-8885-8354781E5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100" y="1060165"/>
            <a:ext cx="11453811" cy="593415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13FE863-F250-4B0C-A295-65DE50556C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774" y="1756106"/>
            <a:ext cx="11471275" cy="4741532"/>
          </a:xfrm>
        </p:spPr>
        <p:txBody>
          <a:bodyPr/>
          <a:lstStyle>
            <a:lvl1pPr marL="540000" indent="-540000">
              <a:lnSpc>
                <a:spcPct val="140000"/>
              </a:lnSpc>
              <a:spcAft>
                <a:spcPts val="0"/>
              </a:spcAft>
              <a:buClr>
                <a:schemeClr val="bg1"/>
              </a:buClr>
              <a:buFont typeface="+mj-lt"/>
              <a:buAutoNum type="arabicPeriod"/>
              <a:defRPr sz="2600">
                <a:solidFill>
                  <a:schemeClr val="bg1"/>
                </a:solidFill>
              </a:defRPr>
            </a:lvl1pPr>
            <a:lvl2pPr marL="0" indent="0">
              <a:lnSpc>
                <a:spcPct val="140000"/>
              </a:lnSpc>
              <a:spcAft>
                <a:spcPts val="0"/>
              </a:spcAft>
              <a:buClr>
                <a:schemeClr val="bg1"/>
              </a:buClr>
              <a:buFontTx/>
              <a:buNone/>
              <a:defRPr sz="2600">
                <a:solidFill>
                  <a:schemeClr val="bg1"/>
                </a:solidFill>
              </a:defRPr>
            </a:lvl2pPr>
            <a:lvl3pPr marL="0" indent="0">
              <a:lnSpc>
                <a:spcPct val="140000"/>
              </a:lnSpc>
              <a:spcAft>
                <a:spcPts val="0"/>
              </a:spcAft>
              <a:buClr>
                <a:schemeClr val="bg1"/>
              </a:buClr>
              <a:buFontTx/>
              <a:buNone/>
              <a:defRPr sz="2600">
                <a:solidFill>
                  <a:schemeClr val="bg1"/>
                </a:solidFill>
              </a:defRPr>
            </a:lvl3pPr>
            <a:lvl4pPr marL="0" indent="0">
              <a:lnSpc>
                <a:spcPct val="140000"/>
              </a:lnSpc>
              <a:spcAft>
                <a:spcPts val="0"/>
              </a:spcAft>
              <a:buClr>
                <a:schemeClr val="bg1"/>
              </a:buClr>
              <a:buFontTx/>
              <a:buNone/>
              <a:defRPr sz="2600">
                <a:solidFill>
                  <a:schemeClr val="bg1"/>
                </a:solidFill>
              </a:defRPr>
            </a:lvl4pPr>
            <a:lvl5pPr marL="0" indent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Tx/>
              <a:buNone/>
              <a:defRPr sz="26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74793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8">
          <p15:clr>
            <a:srgbClr val="FBAE40"/>
          </p15:clr>
        </p15:guide>
        <p15:guide id="2" orient="horz" pos="1104">
          <p15:clr>
            <a:srgbClr val="FBAE40"/>
          </p15:clr>
        </p15:guide>
        <p15:guide id="3" orient="horz" pos="104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Verlauf oben nach unt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836D91-9625-4C4B-B23E-B3E54C9BD0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548680"/>
            <a:ext cx="11473200" cy="5769983"/>
          </a:xfrm>
        </p:spPr>
        <p:txBody>
          <a:bodyPr anchor="t" anchorCtr="0"/>
          <a:lstStyle>
            <a:lvl1pPr>
              <a:lnSpc>
                <a:spcPct val="110000"/>
              </a:lnSpc>
              <a:buFontTx/>
              <a:buNone/>
              <a:defRPr sz="1600" b="0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Tx/>
              <a:buNone/>
              <a:tabLst/>
              <a:defRPr sz="1600" baseline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5pPr>
          </a:lstStyle>
          <a:p>
            <a:r>
              <a:rPr lang="de-DE" dirty="0"/>
              <a:t>Ansprechpartner</a:t>
            </a:r>
          </a:p>
          <a:p>
            <a:pPr lvl="1"/>
            <a:r>
              <a:rPr lang="de-DE" dirty="0"/>
              <a:t>Position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de-DE" dirty="0"/>
              <a:t>Zukunft Gas e. V.</a:t>
            </a:r>
          </a:p>
          <a:p>
            <a:pPr lvl="1"/>
            <a:r>
              <a:rPr lang="de-DE" dirty="0"/>
              <a:t>Neustädtische Kirchstraße 8</a:t>
            </a:r>
          </a:p>
          <a:p>
            <a:pPr lvl="1"/>
            <a:r>
              <a:rPr lang="de-DE" dirty="0"/>
              <a:t>10117 Berlin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T +49 30 460 6015-xx</a:t>
            </a:r>
          </a:p>
          <a:p>
            <a:pPr lvl="1"/>
            <a:r>
              <a:rPr lang="de-DE" dirty="0"/>
              <a:t>F +49 30 460 6015-xx</a:t>
            </a:r>
          </a:p>
          <a:p>
            <a:pPr lvl="1"/>
            <a:r>
              <a:rPr lang="de-DE" dirty="0"/>
              <a:t>vorname.nachname@erdgas.info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www.gas.info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49F1001-F9D8-4F37-A0D1-B04AFDFB24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6640" y="591082"/>
            <a:ext cx="1440000" cy="92314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49F1001-F9D8-4F37-A0D1-B04AFDFB24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000" y="5040000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21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 Verlauf links nach rech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7836D91-9625-4C4B-B23E-B3E54C9BD0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548680"/>
            <a:ext cx="11473200" cy="5769983"/>
          </a:xfrm>
        </p:spPr>
        <p:txBody>
          <a:bodyPr anchor="t" anchorCtr="0"/>
          <a:lstStyle>
            <a:lvl1pPr>
              <a:lnSpc>
                <a:spcPct val="110000"/>
              </a:lnSpc>
              <a:buFontTx/>
              <a:buNone/>
              <a:defRPr sz="1600" b="0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Tx/>
              <a:buNone/>
              <a:tabLst/>
              <a:defRPr sz="1600" baseline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Tx/>
              <a:buNone/>
              <a:defRPr sz="16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5pPr>
          </a:lstStyle>
          <a:p>
            <a:r>
              <a:rPr lang="de-DE" dirty="0"/>
              <a:t>Ansprechpartner</a:t>
            </a:r>
          </a:p>
          <a:p>
            <a:pPr lvl="1"/>
            <a:r>
              <a:rPr lang="de-DE" dirty="0"/>
              <a:t>Position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de-DE" dirty="0"/>
              <a:t>Zukunft Gas e. V.</a:t>
            </a:r>
          </a:p>
          <a:p>
            <a:pPr lvl="1"/>
            <a:r>
              <a:rPr lang="de-DE" dirty="0"/>
              <a:t>Neustädtische Kirchstraße 8</a:t>
            </a:r>
          </a:p>
          <a:p>
            <a:pPr lvl="1"/>
            <a:r>
              <a:rPr lang="de-DE" dirty="0"/>
              <a:t>10117 Berlin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T +49 30 460 6015-xx</a:t>
            </a:r>
          </a:p>
          <a:p>
            <a:pPr lvl="1"/>
            <a:r>
              <a:rPr lang="de-DE" dirty="0"/>
              <a:t>F +49 30 460 6015-xx</a:t>
            </a:r>
          </a:p>
          <a:p>
            <a:pPr lvl="1"/>
            <a:r>
              <a:rPr lang="de-DE" dirty="0"/>
              <a:t>vorname.nachname@erdgas.info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www.gas.info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49F1001-F9D8-4F37-A0D1-B04AFDFB24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6640" y="591082"/>
            <a:ext cx="1440000" cy="92314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49F1001-F9D8-4F37-A0D1-B04AFDFB24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0000" y="5040000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799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/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569" y="590400"/>
            <a:ext cx="11470480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E28BC4B-FC75-4F47-A985-66DEDE1A23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562400"/>
            <a:ext cx="5088300" cy="49356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F22BA2C-A6D3-4DF8-A402-1C16A3B09D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10830898" y="5255921"/>
            <a:ext cx="2303463" cy="179970"/>
          </a:xfrm>
        </p:spPr>
        <p:txBody>
          <a:bodyPr/>
          <a:lstStyle>
            <a:lvl1pPr algn="l">
              <a:lnSpc>
                <a:spcPct val="100000"/>
              </a:lnSpc>
              <a:buFontTx/>
              <a:buNone/>
              <a:defRPr sz="900"/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 marL="0" indent="0">
              <a:lnSpc>
                <a:spcPct val="100000"/>
              </a:lnSpc>
              <a:buFontTx/>
              <a:buNone/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buFontTx/>
              <a:buNone/>
              <a:defRPr sz="900" b="0"/>
            </a:lvl5pPr>
          </a:lstStyle>
          <a:p>
            <a:pPr algn="l"/>
            <a:r>
              <a:rPr lang="de-DE" sz="900">
                <a:solidFill>
                  <a:schemeClr val="tx1"/>
                </a:solidFill>
              </a:rPr>
              <a:t>Fotocredit (optional)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0ABA6658-5D5A-4791-81D6-B7551BF040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6020" y="1562400"/>
            <a:ext cx="5088300" cy="49356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6557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FBAE40"/>
          </p15:clr>
        </p15:guide>
        <p15:guide id="2" pos="3840">
          <p15:clr>
            <a:srgbClr val="FBAE40"/>
          </p15:clr>
        </p15:guide>
        <p15:guide id="3" pos="3432">
          <p15:clr>
            <a:srgbClr val="FBAE40"/>
          </p15:clr>
        </p15:guide>
        <p15:guide id="4" pos="7490">
          <p15:clr>
            <a:srgbClr val="FBAE40"/>
          </p15:clr>
        </p15:guide>
        <p15:guide id="5" orient="horz" pos="371">
          <p15:clr>
            <a:srgbClr val="FBAE40"/>
          </p15:clr>
        </p15:guide>
        <p15:guide id="6" orient="horz" pos="96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569" y="590400"/>
            <a:ext cx="11473631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8EE7689-48EA-444D-8822-A51ABBB307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562400"/>
            <a:ext cx="11473200" cy="49356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29709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FBAE40"/>
          </p15:clr>
        </p15:guide>
        <p15:guide id="2" orient="horz" pos="37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569" y="590400"/>
            <a:ext cx="11470480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E28BC4B-FC75-4F47-A985-66DEDE1A23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4" y="1535048"/>
            <a:ext cx="5089526" cy="496259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DF5BAB6-9203-49AA-81AB-92F52DD21F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1535049"/>
            <a:ext cx="5734050" cy="4962589"/>
          </a:xfrm>
        </p:spPr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F22BA2C-A6D3-4DF8-A402-1C16A3B09D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10830898" y="5255921"/>
            <a:ext cx="2303463" cy="179970"/>
          </a:xfrm>
        </p:spPr>
        <p:txBody>
          <a:bodyPr/>
          <a:lstStyle>
            <a:lvl1pPr algn="l">
              <a:lnSpc>
                <a:spcPct val="100000"/>
              </a:lnSpc>
              <a:buFontTx/>
              <a:buNone/>
              <a:defRPr sz="900"/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 marL="0" indent="0">
              <a:lnSpc>
                <a:spcPct val="100000"/>
              </a:lnSpc>
              <a:buFontTx/>
              <a:buNone/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buFontTx/>
              <a:buNone/>
              <a:defRPr sz="900" b="0"/>
            </a:lvl5pPr>
          </a:lstStyle>
          <a:p>
            <a:pPr algn="l"/>
            <a:r>
              <a:rPr lang="de-DE" sz="900">
                <a:solidFill>
                  <a:schemeClr val="tx1"/>
                </a:solidFill>
              </a:rPr>
              <a:t>Fotocredit (optional)</a:t>
            </a:r>
          </a:p>
        </p:txBody>
      </p:sp>
    </p:spTree>
    <p:extLst>
      <p:ext uri="{BB962C8B-B14F-4D97-AF65-F5344CB8AC3E}">
        <p14:creationId xmlns:p14="http://schemas.microsoft.com/office/powerpoint/2010/main" val="511650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pos="3840">
          <p15:clr>
            <a:srgbClr val="FBAE40"/>
          </p15:clr>
        </p15:guide>
        <p15:guide id="3" pos="3432">
          <p15:clr>
            <a:srgbClr val="FBAE40"/>
          </p15:clr>
        </p15:guide>
        <p15:guide id="4" pos="7490">
          <p15:clr>
            <a:srgbClr val="FBAE40"/>
          </p15:clr>
        </p15:guide>
        <p15:guide id="5" orient="horz" pos="371">
          <p15:clr>
            <a:srgbClr val="FBAE40"/>
          </p15:clr>
        </p15:guide>
        <p15:guide id="6" orient="horz" pos="96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569" y="590400"/>
            <a:ext cx="11470480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DF5BAB6-9203-49AA-81AB-92F52DD21F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9569" y="1535049"/>
            <a:ext cx="11470481" cy="4962589"/>
          </a:xfrm>
        </p:spPr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F22BA2C-A6D3-4DF8-A402-1C16A3B09D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10830898" y="5255921"/>
            <a:ext cx="2303463" cy="179970"/>
          </a:xfrm>
        </p:spPr>
        <p:txBody>
          <a:bodyPr/>
          <a:lstStyle>
            <a:lvl1pPr algn="l">
              <a:lnSpc>
                <a:spcPct val="100000"/>
              </a:lnSpc>
              <a:buFontTx/>
              <a:buNone/>
              <a:defRPr sz="900"/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 marL="0" indent="0">
              <a:lnSpc>
                <a:spcPct val="100000"/>
              </a:lnSpc>
              <a:buFontTx/>
              <a:buNone/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buFontTx/>
              <a:buNone/>
              <a:defRPr sz="900" b="0"/>
            </a:lvl5pPr>
          </a:lstStyle>
          <a:p>
            <a:pPr algn="l"/>
            <a:r>
              <a:rPr lang="de-DE" sz="900">
                <a:solidFill>
                  <a:schemeClr val="tx1"/>
                </a:solidFill>
              </a:rPr>
              <a:t>Fotocredit (optional)</a:t>
            </a:r>
          </a:p>
        </p:txBody>
      </p:sp>
    </p:spTree>
    <p:extLst>
      <p:ext uri="{BB962C8B-B14F-4D97-AF65-F5344CB8AC3E}">
        <p14:creationId xmlns:p14="http://schemas.microsoft.com/office/powerpoint/2010/main" val="1971044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6">
          <p15:clr>
            <a:srgbClr val="FBAE40"/>
          </p15:clr>
        </p15:guide>
        <p15:guide id="4" pos="7490">
          <p15:clr>
            <a:srgbClr val="FBAE40"/>
          </p15:clr>
        </p15:guide>
        <p15:guide id="5" orient="horz" pos="37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6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569" y="590400"/>
            <a:ext cx="11470481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DF5BAB6-9203-49AA-81AB-92F52DD21F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9569" y="1535049"/>
            <a:ext cx="3729831" cy="2476856"/>
          </a:xfrm>
        </p:spPr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F22BA2C-A6D3-4DF8-A402-1C16A3B09D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10830898" y="5255921"/>
            <a:ext cx="2303463" cy="179970"/>
          </a:xfrm>
        </p:spPr>
        <p:txBody>
          <a:bodyPr/>
          <a:lstStyle>
            <a:lvl1pPr algn="l">
              <a:lnSpc>
                <a:spcPct val="100000"/>
              </a:lnSpc>
              <a:buFontTx/>
              <a:buNone/>
              <a:defRPr sz="900"/>
            </a:lvl1pPr>
            <a:lvl2pPr marL="0" indent="0">
              <a:lnSpc>
                <a:spcPct val="100000"/>
              </a:lnSpc>
              <a:buFontTx/>
              <a:buNone/>
              <a:defRPr sz="900"/>
            </a:lvl2pPr>
            <a:lvl3pPr marL="0" indent="0">
              <a:lnSpc>
                <a:spcPct val="100000"/>
              </a:lnSpc>
              <a:buFontTx/>
              <a:buNone/>
              <a:defRPr sz="900"/>
            </a:lvl3pPr>
            <a:lvl4pPr marL="0" indent="0">
              <a:lnSpc>
                <a:spcPct val="100000"/>
              </a:lnSpc>
              <a:buFontTx/>
              <a:buNone/>
              <a:defRPr sz="900"/>
            </a:lvl4pPr>
            <a:lvl5pPr>
              <a:lnSpc>
                <a:spcPct val="100000"/>
              </a:lnSpc>
              <a:spcBef>
                <a:spcPts val="0"/>
              </a:spcBef>
              <a:buFontTx/>
              <a:buNone/>
              <a:defRPr sz="900" b="0"/>
            </a:lvl5pPr>
          </a:lstStyle>
          <a:p>
            <a:pPr algn="l"/>
            <a:r>
              <a:rPr lang="de-DE" sz="900">
                <a:solidFill>
                  <a:schemeClr val="tx1"/>
                </a:solidFill>
              </a:rPr>
              <a:t>Fotocredit (optional)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61708F2D-FD98-4DA7-BCD1-753C16518BD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47356" y="1535049"/>
            <a:ext cx="3236913" cy="2476800"/>
          </a:xfrm>
        </p:spPr>
        <p:txBody>
          <a:bodyPr/>
          <a:lstStyle/>
          <a:p>
            <a:endParaRPr lang="de-DE"/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53779D34-D034-46FB-9C14-1408E30CFA6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645478" y="1533600"/>
            <a:ext cx="4184571" cy="4964038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1378B694-62D8-4DFC-BE26-58236B104F9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58669" y="4168800"/>
            <a:ext cx="2565506" cy="2325600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6BBFFA1C-F7BF-4517-8D4B-1922AF198E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079287" y="4169861"/>
            <a:ext cx="4404981" cy="2326952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0055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5">
          <p15:clr>
            <a:srgbClr val="FBAE40"/>
          </p15:clr>
        </p15:guide>
        <p15:guide id="4" pos="7490">
          <p15:clr>
            <a:srgbClr val="FBAE40"/>
          </p15:clr>
        </p15:guide>
        <p15:guide id="5" orient="horz" pos="37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DF5BAB6-9203-49AA-81AB-92F52DD21F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1999" cy="6857999"/>
          </a:xfrm>
        </p:spPr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058A20B-2B1A-4D51-A22E-CB800B698B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8775" y="383381"/>
            <a:ext cx="5737226" cy="3117600"/>
          </a:xfrm>
          <a:solidFill>
            <a:schemeClr val="bg1"/>
          </a:solidFill>
        </p:spPr>
        <p:txBody>
          <a:bodyPr lIns="252000" tIns="180000" rIns="180000" bIns="252000"/>
          <a:lstStyle>
            <a:lvl1pPr>
              <a:defRPr b="1">
                <a:solidFill>
                  <a:schemeClr val="tx2"/>
                </a:solidFill>
              </a:defRPr>
            </a:lvl1pPr>
            <a:lvl2pPr marL="0" indent="0">
              <a:buFontTx/>
              <a:buNone/>
              <a:defRPr/>
            </a:lvl2pPr>
            <a:lvl3pPr marL="270000">
              <a:defRPr/>
            </a:lvl3pPr>
            <a:lvl4pPr marL="540000">
              <a:defRPr/>
            </a:lvl4pPr>
            <a:lvl5pPr marL="810000" indent="-270000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b="0"/>
            </a:lvl5pPr>
            <a:lvl6pPr marL="0" indent="0">
              <a:lnSpc>
                <a:spcPts val="3000"/>
              </a:lnSpc>
              <a:spcBef>
                <a:spcPts val="0"/>
              </a:spcBef>
              <a:buFontTx/>
              <a:buNone/>
              <a:defRPr sz="2000" b="1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046917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EC0504-51FC-4590-83BB-9147A8DA5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11B41B-09AF-4A5B-98DF-7F4A34C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9A88DD-21D3-4EDF-9B3D-DEBF3BA61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2CA701A-82B1-4814-B2C1-04348FA292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569" y="590400"/>
            <a:ext cx="11470481" cy="345010"/>
          </a:xfrm>
        </p:spPr>
        <p:txBody>
          <a:bodyPr/>
          <a:lstStyle>
            <a:lvl1pPr>
              <a:buFontTx/>
              <a:buNone/>
              <a:defRPr sz="2600">
                <a:solidFill>
                  <a:schemeClr val="tx1"/>
                </a:solidFill>
              </a:defRPr>
            </a:lvl1pPr>
            <a:lvl2pPr marL="0" indent="0">
              <a:buFontTx/>
              <a:buNone/>
              <a:defRPr sz="2600">
                <a:solidFill>
                  <a:schemeClr val="bg2"/>
                </a:solidFill>
              </a:defRPr>
            </a:lvl2pPr>
            <a:lvl3pPr marL="0" indent="0">
              <a:buFontTx/>
              <a:buNone/>
              <a:defRPr sz="2600">
                <a:solidFill>
                  <a:schemeClr val="bg2"/>
                </a:solidFill>
              </a:defRPr>
            </a:lvl3pPr>
            <a:lvl4pPr marL="0" indent="0">
              <a:buFontTx/>
              <a:buNone/>
              <a:defRPr sz="2600">
                <a:solidFill>
                  <a:schemeClr val="bg2"/>
                </a:solidFill>
              </a:defRPr>
            </a:lvl4pPr>
            <a:lvl5pPr>
              <a:spcBef>
                <a:spcPts val="0"/>
              </a:spcBef>
              <a:buFontTx/>
              <a:buNone/>
              <a:defRPr sz="2600" b="0">
                <a:solidFill>
                  <a:schemeClr val="bg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D735D1A3-0A98-4BDF-9225-3DA886E876D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360000" y="1562400"/>
            <a:ext cx="11473200" cy="49356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0229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3">
          <p15:clr>
            <a:srgbClr val="FBAE40"/>
          </p15:clr>
        </p15:guide>
        <p15:guide id="2" orient="horz" pos="37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329445F-1720-4BB9-B940-D3D77CA6D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176550"/>
            <a:ext cx="11471275" cy="3450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1470DBC-5FE1-482D-9CEB-474D8E4379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562567"/>
            <a:ext cx="11471275" cy="49350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5588BD-4415-4491-89B6-4CB38292E9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2856" y="6638423"/>
            <a:ext cx="6156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09/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1E5F29C-1FCE-44FA-830A-113409D951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5600" y="6638423"/>
            <a:ext cx="41148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r. Timm Kehler / Zukunft Gas </a:t>
            </a:r>
          </a:p>
        </p:txBody>
      </p:sp>
    </p:spTree>
    <p:extLst>
      <p:ext uri="{BB962C8B-B14F-4D97-AF65-F5344CB8AC3E}">
        <p14:creationId xmlns:p14="http://schemas.microsoft.com/office/powerpoint/2010/main" val="3954291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6" r:id="rId14"/>
    <p:sldLayoutId id="2147483678" r:id="rId15"/>
    <p:sldLayoutId id="2147483696" r:id="rId16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3000"/>
        </a:spcBef>
        <a:spcAft>
          <a:spcPts val="600"/>
        </a:spcAft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110">
          <p15:clr>
            <a:srgbClr val="F26B43"/>
          </p15:clr>
        </p15:guide>
        <p15:guide id="3" pos="226">
          <p15:clr>
            <a:srgbClr val="F26B43"/>
          </p15:clr>
        </p15:guide>
        <p15:guide id="4" pos="7452">
          <p15:clr>
            <a:srgbClr val="F26B43"/>
          </p15:clr>
        </p15:guide>
        <p15:guide id="5" orient="horz" pos="409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329445F-1720-4BB9-B940-D3D77CA6D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4" y="176550"/>
            <a:ext cx="11471275" cy="3450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1470DBC-5FE1-482D-9CEB-474D8E4379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8775" y="1562567"/>
            <a:ext cx="11471275" cy="49350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Listenebene 1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Listenebene 2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Listenebene 3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3"/>
            <a:r>
              <a:rPr lang="de-DE" dirty="0"/>
              <a:t>Listenebene 4, Ubuntu Regular 20/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  <a:p>
            <a:pPr lvl="4"/>
            <a:r>
              <a:rPr lang="de-DE" dirty="0"/>
              <a:t>Listenebene 5, Ubuntu Regular 20/30 </a:t>
            </a:r>
            <a:r>
              <a:rPr lang="de-DE" dirty="0" err="1"/>
              <a:t>pt</a:t>
            </a:r>
            <a:r>
              <a:rPr lang="de-DE" dirty="0"/>
              <a:t>., Abstand vor: 30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5588BD-4415-4491-89B6-4CB38292E9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2856" y="6638423"/>
            <a:ext cx="6156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09/2021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1E5F29C-1FCE-44FA-830A-113409D951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5600" y="6638423"/>
            <a:ext cx="41148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Dr. Timm Kehler / Zukunft Gas 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FF0DA2E-DD6D-40F7-9140-D3C681460CD0}"/>
              </a:ext>
            </a:extLst>
          </p:cNvPr>
          <p:cNvSpPr/>
          <p:nvPr userDrawn="1"/>
        </p:nvSpPr>
        <p:spPr>
          <a:xfrm>
            <a:off x="11625506" y="6587591"/>
            <a:ext cx="40908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DD44373-2D2E-48BF-BA6D-CFC58F0679E5}" type="slidenum">
              <a:rPr lang="de-DE" sz="900" smtClean="0"/>
              <a:t>‹Nr.›</a:t>
            </a:fld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3539540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000" indent="-342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42000" indent="-342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bg2"/>
        </a:buClr>
        <a:buFont typeface="Ubuntu" panose="020B050403060203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42000" indent="-342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bg2"/>
        </a:buClr>
        <a:buFont typeface="Ubuntu" panose="020B050403060203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342000" indent="-342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342000" indent="-342000" algn="l" defTabSz="914400" rtl="0" eaLnBrk="1" latinLnBrk="0" hangingPunct="1">
        <a:lnSpc>
          <a:spcPts val="3000"/>
        </a:lnSpc>
        <a:spcBef>
          <a:spcPts val="3000"/>
        </a:spcBef>
        <a:buFontTx/>
        <a:buNone/>
        <a:defRPr sz="2000" b="1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110">
          <p15:clr>
            <a:srgbClr val="F26B43"/>
          </p15:clr>
        </p15:guide>
        <p15:guide id="3" pos="226">
          <p15:clr>
            <a:srgbClr val="F26B43"/>
          </p15:clr>
        </p15:guide>
        <p15:guide id="4" pos="7452">
          <p15:clr>
            <a:srgbClr val="F26B43"/>
          </p15:clr>
        </p15:guide>
        <p15:guide id="5" orient="horz" pos="40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https://www.hydrogen4eu.com/" TargetMode="Externa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gasforclimate2050.eu/sdm_downloads/european-hydrogen-backbone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hyperlink" Target="https://gas.info/klimaschutz-mit-gas/dekarbonisierung-waermemarkt/klimaneutral-wohnen" TargetMode="External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gas.info/klimaschutz-mit-gas/dekarbonisierung-waermemarkt/klimaneutral-wohnen" TargetMode="External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6.gif"/><Relationship Id="rId7" Type="http://schemas.openxmlformats.org/officeDocument/2006/relationships/image" Target="../media/image40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jpeg"/><Relationship Id="rId10" Type="http://schemas.openxmlformats.org/officeDocument/2006/relationships/image" Target="../media/image43.jpeg"/><Relationship Id="rId4" Type="http://schemas.openxmlformats.org/officeDocument/2006/relationships/image" Target="../media/image37.jpeg"/><Relationship Id="rId9" Type="http://schemas.openxmlformats.org/officeDocument/2006/relationships/image" Target="../media/image4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4">
            <a:extLst>
              <a:ext uri="{FF2B5EF4-FFF2-40B4-BE49-F238E27FC236}">
                <a16:creationId xmlns:a16="http://schemas.microsoft.com/office/drawing/2014/main" id="{F050AAAE-4B5F-4293-8256-05F4ACE3444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23"/>
          <a:stretch/>
        </p:blipFill>
        <p:spPr>
          <a:xfrm>
            <a:off x="-11430" y="0"/>
            <a:ext cx="12203430" cy="6858000"/>
          </a:xfrm>
          <a:prstGeom prst="rect">
            <a:avLst/>
          </a:prstGeom>
        </p:spPr>
      </p:pic>
      <p:sp>
        <p:nvSpPr>
          <p:cNvPr id="4" name="Untertitel 3">
            <a:extLst>
              <a:ext uri="{FF2B5EF4-FFF2-40B4-BE49-F238E27FC236}">
                <a16:creationId xmlns:a16="http://schemas.microsoft.com/office/drawing/2014/main" id="{4464649D-2641-46D7-900F-AB607BAE713B}"/>
              </a:ext>
            </a:extLst>
          </p:cNvPr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r>
              <a:rPr lang="de-DE" dirty="0"/>
              <a:t>Grüner Wasserstoff statt Erdgas</a:t>
            </a:r>
          </a:p>
          <a:p>
            <a:r>
              <a:rPr lang="de-DE" sz="1600" b="0" dirty="0"/>
              <a:t>12. IEWT TU Wien</a:t>
            </a:r>
          </a:p>
          <a:p>
            <a:r>
              <a:rPr lang="de-DE" sz="1600" b="0" dirty="0"/>
              <a:t>Dr. Timm Kehl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49F1001-F9D8-4F37-A0D1-B04AFDFB24B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764704"/>
            <a:ext cx="1684672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7976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B9BC0FD5-2840-4628-B85F-370FE2E3AB3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" name="Datumsplatzhalter 2" hidden="1">
            <a:extLst>
              <a:ext uri="{FF2B5EF4-FFF2-40B4-BE49-F238E27FC236}">
                <a16:creationId xmlns:a16="http://schemas.microsoft.com/office/drawing/2014/main" id="{58AD992A-EA81-430B-B541-CDF952033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9/2021</a:t>
            </a:r>
          </a:p>
        </p:txBody>
      </p:sp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F1725C74-0399-435E-A715-09C61458ABA6}"/>
              </a:ext>
            </a:extLst>
          </p:cNvPr>
          <p:cNvSpPr txBox="1">
            <a:spLocks/>
          </p:cNvSpPr>
          <p:nvPr/>
        </p:nvSpPr>
        <p:spPr>
          <a:xfrm>
            <a:off x="352856" y="6638423"/>
            <a:ext cx="7739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4. Juni 2021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3252513-7A00-4FAE-A181-7130E9B8C4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11756" y="-250257"/>
            <a:ext cx="12403756" cy="8764330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9C3E451-4D02-4712-8B32-453A42EAD6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</p:spTree>
    <p:extLst>
      <p:ext uri="{BB962C8B-B14F-4D97-AF65-F5344CB8AC3E}">
        <p14:creationId xmlns:p14="http://schemas.microsoft.com/office/powerpoint/2010/main" val="41000666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AEC5EB-2A52-4C39-B48F-61D8EDB28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asserstoffproduktion morgen: CO2-neutral
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24DBA593-A680-4ABB-930F-374E61DFB7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29" name="Fußzeilenplatzhalter 19">
            <a:extLst>
              <a:ext uri="{FF2B5EF4-FFF2-40B4-BE49-F238E27FC236}">
                <a16:creationId xmlns:a16="http://schemas.microsoft.com/office/drawing/2014/main" id="{FE744EBA-51DA-4203-BB5E-55B8DBEE54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defTabSz="914309"/>
            <a:r>
              <a:rPr lang="de-DE">
                <a:solidFill>
                  <a:prstClr val="black"/>
                </a:solidFill>
                <a:latin typeface="Ubuntu" panose="020B0504030602030204" pitchFamily="34" charset="0"/>
              </a:rPr>
              <a:t>Dr. Timm Kehler / Zukunft Gas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3C3ABE9-AFE5-4063-BBF6-5B42A46AAF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Verschiedene Technologierouten führen zu klimaneutralem Wasserstoff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1AF3226-D5FE-4D7C-9417-DD79810567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814CCEF-756F-46A5-ADD8-13B62CD10A18}"/>
              </a:ext>
            </a:extLst>
          </p:cNvPr>
          <p:cNvSpPr/>
          <p:nvPr/>
        </p:nvSpPr>
        <p:spPr>
          <a:xfrm>
            <a:off x="352102" y="4986544"/>
            <a:ext cx="5616000" cy="1512000"/>
          </a:xfrm>
          <a:prstGeom prst="rect">
            <a:avLst/>
          </a:prstGeom>
          <a:solidFill>
            <a:srgbClr val="00CD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77" tIns="107986" rIns="143981" bIns="179977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74A04B9A-34D6-4504-9D4C-E269DBFE647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7330"/>
          <a:stretch/>
        </p:blipFill>
        <p:spPr>
          <a:xfrm>
            <a:off x="2495699" y="5058941"/>
            <a:ext cx="1631458" cy="1386689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299056CC-DBAB-4A3C-B524-951944FF1B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5885" y="5308868"/>
            <a:ext cx="1608535" cy="912459"/>
          </a:xfrm>
          <a:prstGeom prst="rect">
            <a:avLst/>
          </a:prstGeom>
          <a:ln w="12700">
            <a:noFill/>
          </a:ln>
        </p:spPr>
      </p:pic>
      <p:sp>
        <p:nvSpPr>
          <p:cNvPr id="40" name="Textfeld 39">
            <a:extLst>
              <a:ext uri="{FF2B5EF4-FFF2-40B4-BE49-F238E27FC236}">
                <a16:creationId xmlns:a16="http://schemas.microsoft.com/office/drawing/2014/main" id="{0AEDD0A3-7FEE-4992-B0D2-C02B65353BA4}"/>
              </a:ext>
            </a:extLst>
          </p:cNvPr>
          <p:cNvSpPr txBox="1"/>
          <p:nvPr/>
        </p:nvSpPr>
        <p:spPr>
          <a:xfrm>
            <a:off x="352102" y="5725630"/>
            <a:ext cx="2520000" cy="720000"/>
          </a:xfrm>
          <a:prstGeom prst="rect">
            <a:avLst/>
          </a:prstGeom>
          <a:gradFill>
            <a:gsLst>
              <a:gs pos="0">
                <a:schemeClr val="bg1"/>
              </a:gs>
              <a:gs pos="85000">
                <a:schemeClr val="bg1">
                  <a:alpha val="25000"/>
                </a:schemeClr>
              </a:gs>
            </a:gsLst>
            <a:lin ang="21594000" scaled="0"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Pyrolyse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Whitney Semibold" pitchFamily="50" charset="0"/>
              <a:ea typeface="+mn-ea"/>
              <a:cs typeface="+mn-cs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CD6C67A-C3CB-44FA-A9DA-9BA203EE20FF}"/>
              </a:ext>
            </a:extLst>
          </p:cNvPr>
          <p:cNvSpPr/>
          <p:nvPr/>
        </p:nvSpPr>
        <p:spPr>
          <a:xfrm>
            <a:off x="352102" y="3265566"/>
            <a:ext cx="5616000" cy="151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77" tIns="107986" rIns="143981" bIns="179977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35" name="Picture 2" descr="Hybrid-Kraftwerk | Foto: Enertrag/ Tom Baerwald">
            <a:extLst>
              <a:ext uri="{FF2B5EF4-FFF2-40B4-BE49-F238E27FC236}">
                <a16:creationId xmlns:a16="http://schemas.microsoft.com/office/drawing/2014/main" id="{63478575-B5AC-4DCB-84D2-8BCB872563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95" t="1829" r="10826" b="23728"/>
          <a:stretch/>
        </p:blipFill>
        <p:spPr bwMode="auto">
          <a:xfrm>
            <a:off x="3145829" y="3322240"/>
            <a:ext cx="2795894" cy="139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feld 41">
            <a:extLst>
              <a:ext uri="{FF2B5EF4-FFF2-40B4-BE49-F238E27FC236}">
                <a16:creationId xmlns:a16="http://schemas.microsoft.com/office/drawing/2014/main" id="{829762AC-F4EC-4A7C-B14F-C80432D08A14}"/>
              </a:ext>
            </a:extLst>
          </p:cNvPr>
          <p:cNvSpPr txBox="1"/>
          <p:nvPr/>
        </p:nvSpPr>
        <p:spPr>
          <a:xfrm>
            <a:off x="352102" y="3984484"/>
            <a:ext cx="2520000" cy="720000"/>
          </a:xfrm>
          <a:prstGeom prst="rect">
            <a:avLst/>
          </a:prstGeom>
          <a:gradFill>
            <a:gsLst>
              <a:gs pos="0">
                <a:schemeClr val="bg1"/>
              </a:gs>
              <a:gs pos="85000">
                <a:schemeClr val="bg1">
                  <a:alpha val="25000"/>
                </a:schemeClr>
              </a:gs>
            </a:gsLst>
            <a:lin ang="21594000" scaled="0"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lektrolyse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843DE38-7B4D-492F-B888-0530B06F01F9}"/>
              </a:ext>
            </a:extLst>
          </p:cNvPr>
          <p:cNvSpPr/>
          <p:nvPr/>
        </p:nvSpPr>
        <p:spPr>
          <a:xfrm>
            <a:off x="352102" y="1544588"/>
            <a:ext cx="5616000" cy="151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77" tIns="107986" rIns="143981" bIns="179977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76BF4D2-BCF5-4F21-ADE7-03DB964E8E1D}"/>
              </a:ext>
            </a:extLst>
          </p:cNvPr>
          <p:cNvGrpSpPr/>
          <p:nvPr/>
        </p:nvGrpSpPr>
        <p:grpSpPr>
          <a:xfrm>
            <a:off x="3077570" y="1625410"/>
            <a:ext cx="1208212" cy="1350355"/>
            <a:chOff x="1682198" y="1697209"/>
            <a:chExt cx="2274447" cy="2542029"/>
          </a:xfrm>
        </p:grpSpPr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0CD7159D-3262-49DD-A404-D0AE40450F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897" t="10408" r="8098" b="2285"/>
            <a:stretch/>
          </p:blipFill>
          <p:spPr>
            <a:xfrm>
              <a:off x="1682198" y="1697209"/>
              <a:ext cx="2274447" cy="2542029"/>
            </a:xfrm>
            <a:prstGeom prst="rect">
              <a:avLst/>
            </a:prstGeom>
          </p:spPr>
        </p:pic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4CD9719C-0537-44D4-89FA-E702455E9830}"/>
                </a:ext>
              </a:extLst>
            </p:cNvPr>
            <p:cNvSpPr/>
            <p:nvPr/>
          </p:nvSpPr>
          <p:spPr>
            <a:xfrm>
              <a:off x="3098800" y="1984375"/>
              <a:ext cx="415925" cy="381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05061601-8103-4D16-86BC-B05EBD19042F}"/>
                </a:ext>
              </a:extLst>
            </p:cNvPr>
            <p:cNvSpPr/>
            <p:nvPr/>
          </p:nvSpPr>
          <p:spPr>
            <a:xfrm>
              <a:off x="2713906" y="3028950"/>
              <a:ext cx="1034778" cy="273356"/>
            </a:xfrm>
            <a:prstGeom prst="rect">
              <a:avLst/>
            </a:prstGeom>
            <a:solidFill>
              <a:srgbClr val="0849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70C84D53-9BD4-4516-BF60-FCFFE90590B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-76"/>
          <a:stretch/>
        </p:blipFill>
        <p:spPr>
          <a:xfrm>
            <a:off x="4466053" y="1412776"/>
            <a:ext cx="1111106" cy="1746013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E7516B36-7010-4CAF-ACA9-FF05AE8DBBB6}"/>
              </a:ext>
            </a:extLst>
          </p:cNvPr>
          <p:cNvSpPr txBox="1"/>
          <p:nvPr/>
        </p:nvSpPr>
        <p:spPr>
          <a:xfrm>
            <a:off x="360858" y="2267650"/>
            <a:ext cx="2520000" cy="720000"/>
          </a:xfrm>
          <a:prstGeom prst="rect">
            <a:avLst/>
          </a:prstGeom>
          <a:gradFill>
            <a:gsLst>
              <a:gs pos="0">
                <a:schemeClr val="bg1"/>
              </a:gs>
              <a:gs pos="85000">
                <a:schemeClr val="bg1">
                  <a:alpha val="25000"/>
                </a:schemeClr>
              </a:gs>
            </a:gsLst>
            <a:lin ang="21594000" scaled="0"/>
          </a:gradFill>
        </p:spPr>
        <p:txBody>
          <a:bodyPr wrap="square" tIns="46794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ampfreformierung und CCOS</a:t>
            </a:r>
            <a:endParaRPr kumimoji="0" lang="de-DE" sz="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Whitney Book" pitchFamily="50" charset="0"/>
              <a:ea typeface="+mn-ea"/>
              <a:cs typeface="+mn-cs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7FB40B0-A3BF-4598-BC33-19AD4494FFC4}"/>
              </a:ext>
            </a:extLst>
          </p:cNvPr>
          <p:cNvSpPr/>
          <p:nvPr/>
        </p:nvSpPr>
        <p:spPr>
          <a:xfrm>
            <a:off x="11625506" y="6587591"/>
            <a:ext cx="40908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D44373-2D2E-48BF-BA6D-CFC58F0679E5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12" name="Gleichschenkliges Dreieck 11">
            <a:extLst>
              <a:ext uri="{FF2B5EF4-FFF2-40B4-BE49-F238E27FC236}">
                <a16:creationId xmlns:a16="http://schemas.microsoft.com/office/drawing/2014/main" id="{7A912EED-D903-4DDD-889C-50C63E3B27CC}"/>
              </a:ext>
            </a:extLst>
          </p:cNvPr>
          <p:cNvSpPr/>
          <p:nvPr/>
        </p:nvSpPr>
        <p:spPr>
          <a:xfrm rot="5400000">
            <a:off x="4447990" y="3370416"/>
            <a:ext cx="4938033" cy="135035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8628377-E8C2-405C-BDA2-7715A1EBE753}"/>
              </a:ext>
            </a:extLst>
          </p:cNvPr>
          <p:cNvSpPr/>
          <p:nvPr/>
        </p:nvSpPr>
        <p:spPr>
          <a:xfrm>
            <a:off x="8253140" y="2702041"/>
            <a:ext cx="2639049" cy="263904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err="1">
                <a:solidFill>
                  <a:schemeClr val="tx1"/>
                </a:solidFill>
              </a:rPr>
              <a:t>Ziel</a:t>
            </a:r>
            <a:r>
              <a:rPr lang="en-GB" b="1">
                <a:solidFill>
                  <a:schemeClr val="tx1"/>
                </a:solidFill>
              </a:rPr>
              <a:t>: </a:t>
            </a:r>
            <a:r>
              <a:rPr lang="en-GB" b="1" err="1">
                <a:solidFill>
                  <a:schemeClr val="tx1"/>
                </a:solidFill>
              </a:rPr>
              <a:t>klimaneutraler</a:t>
            </a:r>
            <a:r>
              <a:rPr lang="en-GB" b="1">
                <a:solidFill>
                  <a:schemeClr val="tx1"/>
                </a:solidFill>
              </a:rPr>
              <a:t> </a:t>
            </a:r>
            <a:r>
              <a:rPr lang="en-GB" b="1" err="1">
                <a:solidFill>
                  <a:schemeClr val="tx1"/>
                </a:solidFill>
              </a:rPr>
              <a:t>Wasserstoff</a:t>
            </a:r>
            <a:endParaRPr lang="en-GB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591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 animBg="1"/>
      <p:bldP spid="4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E5FBF5-C580-4F1A-8A96-ED3983C6B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le </a:t>
            </a:r>
            <a:r>
              <a:rPr lang="en-GB" dirty="0" err="1"/>
              <a:t>Wasserstoff-Farben</a:t>
            </a:r>
            <a:r>
              <a:rPr lang="en-GB" dirty="0"/>
              <a:t> </a:t>
            </a:r>
            <a:r>
              <a:rPr lang="en-GB" dirty="0" err="1"/>
              <a:t>werden</a:t>
            </a:r>
            <a:r>
              <a:rPr lang="en-GB" dirty="0"/>
              <a:t> </a:t>
            </a:r>
            <a:r>
              <a:rPr lang="en-GB" dirty="0" err="1"/>
              <a:t>gebraucht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4E6100A-EEB2-4AA7-B623-AE1165280D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E8E25A-98F5-455C-837D-45599FD5F5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ED2A053-9680-4002-B05E-FFA4824882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Projekt</a:t>
            </a:r>
            <a:r>
              <a:rPr lang="en-GB" dirty="0"/>
              <a:t> “</a:t>
            </a:r>
            <a:r>
              <a:rPr lang="en-GB" dirty="0">
                <a:hlinkClick r:id="rId2"/>
              </a:rPr>
              <a:t>Hydrogen4EU</a:t>
            </a:r>
            <a:r>
              <a:rPr lang="en-GB" dirty="0"/>
              <a:t>” </a:t>
            </a:r>
            <a:r>
              <a:rPr lang="en-GB" dirty="0" err="1"/>
              <a:t>zeigt</a:t>
            </a:r>
            <a:r>
              <a:rPr lang="en-GB" dirty="0"/>
              <a:t> </a:t>
            </a:r>
            <a:r>
              <a:rPr lang="en-GB" dirty="0" err="1"/>
              <a:t>Marktaufbau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</a:t>
            </a:r>
            <a:r>
              <a:rPr lang="en-GB" dirty="0" err="1"/>
              <a:t>blau</a:t>
            </a:r>
            <a:r>
              <a:rPr lang="en-GB" dirty="0"/>
              <a:t>/</a:t>
            </a:r>
            <a:r>
              <a:rPr lang="en-GB" dirty="0" err="1"/>
              <a:t>türkis</a:t>
            </a:r>
            <a:r>
              <a:rPr lang="en-GB" dirty="0"/>
              <a:t>, </a:t>
            </a:r>
            <a:r>
              <a:rPr lang="en-GB" dirty="0" err="1"/>
              <a:t>dann</a:t>
            </a:r>
            <a:r>
              <a:rPr lang="en-GB" dirty="0"/>
              <a:t> </a:t>
            </a:r>
            <a:r>
              <a:rPr lang="en-GB" dirty="0" err="1"/>
              <a:t>grün</a:t>
            </a:r>
            <a:r>
              <a:rPr lang="en-GB" dirty="0"/>
              <a:t>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4B896BA-ECBB-47BE-89E8-C18F2BFD9D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0B00CFC-E171-42CA-BCF6-C9FD6E0EB8C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829"/>
          <a:stretch/>
        </p:blipFill>
        <p:spPr>
          <a:xfrm>
            <a:off x="95665" y="1409711"/>
            <a:ext cx="11997492" cy="434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3606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0C3CD-90D7-48BA-9AB6-B7C593CFE3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s </a:t>
            </a:r>
            <a:r>
              <a:rPr lang="en-GB" dirty="0" err="1"/>
              <a:t>europäische</a:t>
            </a:r>
            <a:r>
              <a:rPr lang="en-GB" dirty="0"/>
              <a:t> </a:t>
            </a:r>
            <a:r>
              <a:rPr lang="en-GB" dirty="0" err="1"/>
              <a:t>Gastransportnetz</a:t>
            </a:r>
            <a:r>
              <a:rPr lang="en-GB" dirty="0"/>
              <a:t> </a:t>
            </a:r>
            <a:r>
              <a:rPr lang="en-GB" dirty="0" err="1"/>
              <a:t>ist</a:t>
            </a:r>
            <a:r>
              <a:rPr lang="en-GB" dirty="0"/>
              <a:t> “H2-ready”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20533F-6ADF-4B1D-8A68-A2CD9C8608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EE7E0B-1B52-4403-B8CC-B409826C4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3AF1718-452C-4852-94CD-8B591A4DBD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Projekt</a:t>
            </a:r>
            <a:r>
              <a:rPr lang="en-GB" dirty="0"/>
              <a:t> “</a:t>
            </a:r>
            <a:r>
              <a:rPr lang="en-GB" dirty="0">
                <a:hlinkClick r:id="rId3"/>
              </a:rPr>
              <a:t>European Hydrogen Backbone</a:t>
            </a:r>
            <a:r>
              <a:rPr lang="en-GB" dirty="0"/>
              <a:t>”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338833F-F76A-4935-838B-2BAC4763FC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D6A8365-39F8-477B-A76A-53BE6FC956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92908" y="1168400"/>
            <a:ext cx="7338177" cy="568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4951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9AE6F2-B342-45B4-B60D-BC53BCF5A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Studie</a:t>
            </a:r>
            <a:r>
              <a:rPr lang="de-DE" dirty="0"/>
              <a:t> Klimaneutral Wohn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BC2BDF0-34EC-46B2-9E24-058FEE9CD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C8D82F2-B829-41C3-814C-24955EA31F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erbrauchsentwicklung der Energieträger im Zeitraum 2020 bis 2050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DB4B9E5-B5C1-452C-A09F-3C83FDF746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562400"/>
            <a:ext cx="2977560" cy="4935600"/>
          </a:xfrm>
        </p:spPr>
        <p:txBody>
          <a:bodyPr/>
          <a:lstStyle/>
          <a:p>
            <a:pPr marL="342900" indent="-34290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de-DE" sz="1400" b="1" dirty="0"/>
              <a:t>Fossiles Heizöl und Erdgas verschwinden </a:t>
            </a:r>
            <a:r>
              <a:rPr lang="de-DE" sz="1400" dirty="0"/>
              <a:t>aus dem Wärmemarkt bis zum Jahr 2050</a:t>
            </a:r>
          </a:p>
          <a:p>
            <a:pPr marL="342900" indent="-34290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de-DE" sz="1400" b="1" dirty="0"/>
              <a:t>Wasserstoffmix</a:t>
            </a:r>
            <a:r>
              <a:rPr lang="de-DE" sz="1400" dirty="0"/>
              <a:t>: Nachfrage wächst mit zunehmender Verfügbarkeit und Umstellung der Gasverteil-netze nach dem Jahr 2030 massiv auf</a:t>
            </a:r>
          </a:p>
          <a:p>
            <a:pPr marL="342900" indent="-34290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de-DE" sz="1400" b="1" dirty="0"/>
              <a:t>Strombedarf im Wärme-markt bleibt bis zum Jahr 2050 weitgehend konstant </a:t>
            </a:r>
            <a:r>
              <a:rPr lang="de-DE" sz="1400" dirty="0"/>
              <a:t>trotz Zuwachs der mit Strom beheizten Wohneinheiten (Ursache: Einsatz von Stromheizungen im hocheffizientem Neubau)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59B2755-2EEB-4EE3-9A89-97D10D8811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3712" y="1581039"/>
            <a:ext cx="8418206" cy="4320773"/>
          </a:xfrm>
          <a:prstGeom prst="rect">
            <a:avLst/>
          </a:prstGeom>
        </p:spPr>
      </p:pic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BEB2AAE-ECDA-461B-9249-BED3D1749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</p:spTree>
    <p:extLst>
      <p:ext uri="{BB962C8B-B14F-4D97-AF65-F5344CB8AC3E}">
        <p14:creationId xmlns:p14="http://schemas.microsoft.com/office/powerpoint/2010/main" val="35283964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2127F7-7985-409D-851A-86C40136D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hlinkClick r:id="rId2"/>
              </a:rPr>
              <a:t>Studie</a:t>
            </a:r>
            <a:r>
              <a:rPr lang="de-DE" dirty="0"/>
              <a:t> Klimaneutral Wohn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004DB45-01F3-4219-9D3D-75EA15B404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D62BA9C-4BB9-4BF0-AB7F-0499272809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Endenergieverbrauchsentwicklung gasförmiger Energieträger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A3B3493C-C417-4BC3-9FFE-15D56A92C8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562400"/>
            <a:ext cx="3064335" cy="4935600"/>
          </a:xfrm>
        </p:spPr>
        <p:txBody>
          <a:bodyPr/>
          <a:lstStyle/>
          <a:p>
            <a:pPr marL="342900" indent="-34290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Der </a:t>
            </a:r>
            <a:r>
              <a:rPr lang="de-DE" sz="1400" b="1" dirty="0"/>
              <a:t>Energieträger </a:t>
            </a:r>
            <a:r>
              <a:rPr lang="de-DE" sz="1400" b="1" dirty="0" err="1"/>
              <a:t>Gasmix</a:t>
            </a:r>
            <a:r>
              <a:rPr lang="de-DE" sz="1400" b="1" dirty="0"/>
              <a:t> </a:t>
            </a:r>
            <a:r>
              <a:rPr lang="de-DE" sz="1400" dirty="0"/>
              <a:t>wird im Zeitraum 2020 bis 2030 schrittweise durch Erhöhung des Biomethan-Anteils vollständig </a:t>
            </a:r>
            <a:r>
              <a:rPr lang="de-DE" sz="1400" b="1" dirty="0" err="1"/>
              <a:t>dekarbonisiert</a:t>
            </a:r>
            <a:endParaRPr lang="de-DE" sz="1400" b="1" dirty="0"/>
          </a:p>
          <a:p>
            <a:pPr marL="342900" indent="-34290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Ab dem Jahr 2030 werden zunehmend die Gasnetze auf Wasserstoff umgestellt und Gebäude direkt mit dem </a:t>
            </a:r>
            <a:r>
              <a:rPr lang="de-DE" sz="1400" b="1" dirty="0"/>
              <a:t>Energieträger Wasserstoffmix </a:t>
            </a:r>
            <a:r>
              <a:rPr lang="de-DE" sz="1400" dirty="0"/>
              <a:t>versorgt</a:t>
            </a:r>
          </a:p>
          <a:p>
            <a:pPr marL="342900" indent="-34290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Die Verfügbarkeit der ausgewiesenen Mengen von </a:t>
            </a:r>
            <a:r>
              <a:rPr lang="de-DE" sz="1400" dirty="0" err="1"/>
              <a:t>dekarbonisiertem</a:t>
            </a:r>
            <a:r>
              <a:rPr lang="de-DE" sz="1400" dirty="0"/>
              <a:t> </a:t>
            </a:r>
            <a:r>
              <a:rPr lang="de-DE" sz="1400" b="1" dirty="0"/>
              <a:t>Wasserstoff (blau, türkis, grün)</a:t>
            </a:r>
            <a:r>
              <a:rPr lang="de-DE" sz="1400" dirty="0"/>
              <a:t> und </a:t>
            </a:r>
            <a:r>
              <a:rPr lang="de-DE" sz="1400" b="1" dirty="0"/>
              <a:t>Biomethan</a:t>
            </a:r>
            <a:r>
              <a:rPr lang="de-DE" sz="1400" dirty="0"/>
              <a:t> wurde anhand aktueller Studien </a:t>
            </a:r>
            <a:r>
              <a:rPr lang="de-DE" sz="1400" dirty="0" err="1"/>
              <a:t>plaubilisiert</a:t>
            </a:r>
            <a:endParaRPr lang="de-DE" sz="14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568F69F-AC03-4D6A-A09A-BDE4FE987D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4335" y="1646493"/>
            <a:ext cx="8203909" cy="4322439"/>
          </a:xfrm>
          <a:prstGeom prst="rect">
            <a:avLst/>
          </a:prstGeom>
        </p:spPr>
      </p:pic>
      <p:sp>
        <p:nvSpPr>
          <p:cNvPr id="8" name="Textplatzhalter 6">
            <a:extLst>
              <a:ext uri="{FF2B5EF4-FFF2-40B4-BE49-F238E27FC236}">
                <a16:creationId xmlns:a16="http://schemas.microsoft.com/office/drawing/2014/main" id="{AD452038-6904-4D42-B585-72ADE4590B9E}"/>
              </a:ext>
            </a:extLst>
          </p:cNvPr>
          <p:cNvSpPr txBox="1">
            <a:spLocks/>
          </p:cNvSpPr>
          <p:nvPr/>
        </p:nvSpPr>
        <p:spPr>
          <a:xfrm>
            <a:off x="2967567" y="5931785"/>
            <a:ext cx="7502901" cy="159608"/>
          </a:xfrm>
          <a:prstGeom prst="rect">
            <a:avLst/>
          </a:prstGeom>
        </p:spPr>
        <p:txBody>
          <a:bodyPr lIns="0" tIns="36000" rIns="0" bIns="36000" anchor="ctr"/>
          <a:lstStyle>
            <a:lvl1pPr marL="0" indent="0" algn="r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5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B4B4D"/>
                </a:solidFill>
                <a:effectLst/>
                <a:uLnTx/>
                <a:uFillTx/>
                <a:latin typeface="Dax-Light"/>
                <a:ea typeface="+mn-ea"/>
                <a:cs typeface="+mn-cs"/>
              </a:rPr>
              <a:t>*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4B4B4D"/>
                </a:solidFill>
                <a:effectLst/>
                <a:uLnTx/>
                <a:uFillTx/>
                <a:latin typeface="Dax-Light"/>
                <a:ea typeface="+mn-ea"/>
                <a:cs typeface="+mn-cs"/>
              </a:rPr>
              <a:t>Gasverbräuche zur Nah-/Fernwärmeerzeugung und zur Stromerzeugung sind nicht mit dargestell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D490B46-163D-4B2B-8DFA-2E08877DB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</p:spTree>
    <p:extLst>
      <p:ext uri="{BB962C8B-B14F-4D97-AF65-F5344CB8AC3E}">
        <p14:creationId xmlns:p14="http://schemas.microsoft.com/office/powerpoint/2010/main" val="20401232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B1D238B-8CBD-420A-99E8-5EE5804DCB0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4973"/>
          <a:stretch/>
        </p:blipFill>
        <p:spPr>
          <a:xfrm>
            <a:off x="0" y="0"/>
            <a:ext cx="12192000" cy="7334332"/>
          </a:xfrm>
          <a:prstGeom prst="rect">
            <a:avLst/>
          </a:prstGeom>
          <a:noFill/>
        </p:spPr>
      </p:pic>
      <p:sp>
        <p:nvSpPr>
          <p:cNvPr id="3" name="Datumsplatzhalter 2" hidden="1">
            <a:extLst>
              <a:ext uri="{FF2B5EF4-FFF2-40B4-BE49-F238E27FC236}">
                <a16:creationId xmlns:a16="http://schemas.microsoft.com/office/drawing/2014/main" id="{58AD992A-EA81-430B-B541-CDF952033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9/202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E63190-D887-4E47-A3A7-442FBBE0B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4000" y="6638423"/>
            <a:ext cx="4114800" cy="18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r. Timm Kehler / Zukunft Gas </a:t>
            </a:r>
          </a:p>
        </p:txBody>
      </p:sp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F2B90295-61EA-459B-B13C-5A9D99BC0D88}"/>
              </a:ext>
            </a:extLst>
          </p:cNvPr>
          <p:cNvSpPr txBox="1">
            <a:spLocks/>
          </p:cNvSpPr>
          <p:nvPr/>
        </p:nvSpPr>
        <p:spPr>
          <a:xfrm>
            <a:off x="352856" y="6638423"/>
            <a:ext cx="7739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4. Juni 2021</a:t>
            </a:r>
          </a:p>
        </p:txBody>
      </p:sp>
    </p:spTree>
    <p:extLst>
      <p:ext uri="{BB962C8B-B14F-4D97-AF65-F5344CB8AC3E}">
        <p14:creationId xmlns:p14="http://schemas.microsoft.com/office/powerpoint/2010/main" val="29435479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58393F3-0C21-40C1-A99C-9E658F857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e </a:t>
            </a:r>
            <a:r>
              <a:rPr lang="en-GB" dirty="0" err="1"/>
              <a:t>Verteilnetze</a:t>
            </a:r>
            <a:r>
              <a:rPr lang="en-GB" dirty="0"/>
              <a:t> warden </a:t>
            </a:r>
            <a:r>
              <a:rPr lang="en-GB" dirty="0" err="1"/>
              <a:t>dezentrale</a:t>
            </a:r>
            <a:r>
              <a:rPr lang="en-GB" dirty="0"/>
              <a:t> </a:t>
            </a:r>
            <a:r>
              <a:rPr lang="en-GB" dirty="0" err="1"/>
              <a:t>Stromerzeuger</a:t>
            </a:r>
            <a:r>
              <a:rPr lang="en-GB" dirty="0"/>
              <a:t> </a:t>
            </a:r>
            <a:r>
              <a:rPr lang="en-GB" dirty="0" err="1"/>
              <a:t>benötigen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019A6E9-15AC-4D9E-A6BE-FF6BF41804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D045B22-E87D-458D-A470-2491E1B9B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8957BAA-6AF1-471C-890B-6F81C1EF57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BHKWs </a:t>
            </a:r>
            <a:r>
              <a:rPr lang="en-GB" dirty="0" err="1"/>
              <a:t>senken</a:t>
            </a:r>
            <a:r>
              <a:rPr lang="en-GB" dirty="0"/>
              <a:t> die relative </a:t>
            </a:r>
            <a:r>
              <a:rPr lang="en-GB" dirty="0" err="1"/>
              <a:t>Überlast</a:t>
            </a:r>
            <a:r>
              <a:rPr lang="en-GB" dirty="0"/>
              <a:t> um </a:t>
            </a:r>
            <a:r>
              <a:rPr lang="en-GB" dirty="0" err="1"/>
              <a:t>Größenordnun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16B2910-A0BB-4711-A7EC-07AF28CF94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BB572AC-6457-4B51-AE8F-B7109FD802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03642"/>
            <a:ext cx="12192000" cy="516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216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E39397F-6051-485B-9211-49703B370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Zuhause</a:t>
            </a:r>
            <a:r>
              <a:rPr lang="en-GB" dirty="0"/>
              <a:t> Strom und </a:t>
            </a:r>
            <a:r>
              <a:rPr lang="en-GB" dirty="0" err="1"/>
              <a:t>Wärme</a:t>
            </a:r>
            <a:r>
              <a:rPr lang="en-GB" dirty="0"/>
              <a:t> </a:t>
            </a:r>
            <a:r>
              <a:rPr lang="en-GB" dirty="0" err="1"/>
              <a:t>erzeugen</a:t>
            </a:r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3B0B2BC-09CC-4D76-B988-8CB9913FFA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  <a:latin typeface="Calibri"/>
              </a:rPr>
              <a:t>Dr. Timm Kehler / Zukunft Gas 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E00B294-F01B-4000-A7A0-CC3AB78861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Brennstoffzellenheizung</a:t>
            </a:r>
            <a:r>
              <a:rPr lang="en-GB" dirty="0"/>
              <a:t> am </a:t>
            </a:r>
            <a:r>
              <a:rPr lang="en-GB" dirty="0" err="1"/>
              <a:t>Gasnetz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BA4D00B-55D4-4589-B827-E854D1C01A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Grafik 9" descr="Ein Bild, das Wand, drinnen, Boden, Person enthält.&#10;&#10;Mit sehr hoher Zuverlässigkeit generierte Beschreibung">
            <a:extLst>
              <a:ext uri="{FF2B5EF4-FFF2-40B4-BE49-F238E27FC236}">
                <a16:creationId xmlns:a16="http://schemas.microsoft.com/office/drawing/2014/main" id="{37E91F35-C7AD-4C77-A5C5-3834D98571A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47" r="953" b="14408"/>
          <a:stretch/>
        </p:blipFill>
        <p:spPr>
          <a:xfrm>
            <a:off x="358776" y="1562398"/>
            <a:ext cx="11471274" cy="493560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DDF608EF-8F59-4068-BEA2-E6F019DC37A1}"/>
              </a:ext>
            </a:extLst>
          </p:cNvPr>
          <p:cNvSpPr txBox="1"/>
          <p:nvPr/>
        </p:nvSpPr>
        <p:spPr>
          <a:xfrm>
            <a:off x="794" y="6588001"/>
            <a:ext cx="16280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>
                <a:solidFill>
                  <a:schemeClr val="bg1"/>
                </a:solidFill>
              </a:rPr>
              <a:t>Quelle: Viessman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1AC95177-DB51-49C0-9EDF-1DC7C5B95B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41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724C7C-3567-4B89-A9B0-5B8361688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ezentrale</a:t>
            </a:r>
            <a:r>
              <a:rPr lang="en-GB" dirty="0"/>
              <a:t> </a:t>
            </a:r>
            <a:r>
              <a:rPr lang="en-GB" dirty="0" err="1"/>
              <a:t>Stromerzeugung</a:t>
            </a:r>
            <a:r>
              <a:rPr lang="en-GB" dirty="0"/>
              <a:t> </a:t>
            </a:r>
            <a:r>
              <a:rPr lang="en-GB" dirty="0" err="1"/>
              <a:t>mit</a:t>
            </a:r>
            <a:r>
              <a:rPr lang="en-GB" dirty="0"/>
              <a:t> SOFC </a:t>
            </a:r>
            <a:r>
              <a:rPr lang="en-GB" dirty="0" err="1"/>
              <a:t>Brennstoffzell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5CDA128-A0DA-450D-BC80-7DAC5F089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9ACA19E-D68D-4B7B-909E-CD9680AE85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CD2B6CF-7BCB-4611-BA53-717C90E1C6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98704D55-87E8-4144-8F1C-DA8B17A787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75" t="2183" b="9055"/>
          <a:stretch/>
        </p:blipFill>
        <p:spPr bwMode="auto">
          <a:xfrm>
            <a:off x="358775" y="1560513"/>
            <a:ext cx="7885339" cy="493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 descr="Ein Bild, das Elektronik, Computer enthält.&#10;&#10;Automatisch generierte Beschreibung">
            <a:extLst>
              <a:ext uri="{FF2B5EF4-FFF2-40B4-BE49-F238E27FC236}">
                <a16:creationId xmlns:a16="http://schemas.microsoft.com/office/drawing/2014/main" id="{3AD00AAC-C676-4BE6-B78C-5757FC6C814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8" t="7053" r="6907" b="7146"/>
          <a:stretch/>
        </p:blipFill>
        <p:spPr>
          <a:xfrm>
            <a:off x="8244114" y="1560513"/>
            <a:ext cx="3585935" cy="4937125"/>
          </a:xfrm>
          <a:prstGeom prst="rect">
            <a:avLst/>
          </a:prstGeom>
        </p:spPr>
      </p:pic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C9701EF-5E5B-4AC7-B787-26BA599F3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62924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61E398-B2C1-47F8-9252-9BF5E331A8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ndenergiebedarf</a:t>
            </a:r>
            <a:r>
              <a:rPr lang="en-US" dirty="0"/>
              <a:t> in Deutschland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2F25B98-53BD-4E1D-A7E9-B6AAC38329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5504672B-0D53-48BA-8E38-559CD67225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F4815CD4-5B9E-408F-B883-E62D5245A2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8ACE96C-F1C7-4F85-893D-ED95C5F70819}"/>
              </a:ext>
            </a:extLst>
          </p:cNvPr>
          <p:cNvSpPr/>
          <p:nvPr/>
        </p:nvSpPr>
        <p:spPr>
          <a:xfrm rot="16200000">
            <a:off x="8372987" y="3149510"/>
            <a:ext cx="5780088" cy="455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 err="1">
                <a:solidFill>
                  <a:srgbClr val="000000"/>
                </a:solidFill>
              </a:rPr>
              <a:t>Arbeitsgemeinschaft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 err="1">
                <a:solidFill>
                  <a:srgbClr val="000000"/>
                </a:solidFill>
              </a:rPr>
              <a:t>Energiebilanzen</a:t>
            </a:r>
            <a:r>
              <a:rPr lang="en-US" sz="800" dirty="0">
                <a:solidFill>
                  <a:srgbClr val="000000"/>
                </a:solidFill>
              </a:rPr>
              <a:t> für das </a:t>
            </a:r>
            <a:r>
              <a:rPr lang="en-US" sz="800" dirty="0" err="1">
                <a:solidFill>
                  <a:srgbClr val="000000"/>
                </a:solidFill>
              </a:rPr>
              <a:t>Jahr</a:t>
            </a:r>
            <a:r>
              <a:rPr lang="en-US" sz="800" dirty="0">
                <a:solidFill>
                  <a:srgbClr val="000000"/>
                </a:solidFill>
              </a:rPr>
              <a:t> 2017 (08/2018)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CEFB7FD-5151-4968-974D-3B30A8E688FD}"/>
              </a:ext>
            </a:extLst>
          </p:cNvPr>
          <p:cNvSpPr>
            <a:spLocks/>
          </p:cNvSpPr>
          <p:nvPr/>
        </p:nvSpPr>
        <p:spPr>
          <a:xfrm>
            <a:off x="357663" y="1562400"/>
            <a:ext cx="2461674" cy="4704067"/>
          </a:xfrm>
          <a:prstGeom prst="rect">
            <a:avLst/>
          </a:prstGeom>
          <a:solidFill>
            <a:schemeClr val="accent6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0" rtlCol="0" anchor="t"/>
          <a:lstStyle/>
          <a:p>
            <a:pPr algn="ctr" defTabSz="1219170"/>
            <a:r>
              <a:rPr lang="en-US" sz="1600" b="1" dirty="0">
                <a:solidFill>
                  <a:srgbClr val="013C74"/>
                </a:solidFill>
              </a:rPr>
              <a:t>„</a:t>
            </a:r>
            <a:r>
              <a:rPr lang="en-US" sz="1600" b="1" dirty="0" err="1">
                <a:solidFill>
                  <a:srgbClr val="013C74"/>
                </a:solidFill>
              </a:rPr>
              <a:t>Elektronen</a:t>
            </a:r>
            <a:r>
              <a:rPr lang="en-US" sz="1600" b="1" dirty="0">
                <a:solidFill>
                  <a:srgbClr val="013C74"/>
                </a:solidFill>
              </a:rPr>
              <a:t>“</a:t>
            </a:r>
          </a:p>
          <a:p>
            <a:pPr algn="ctr" defTabSz="1219170"/>
            <a:r>
              <a:rPr lang="en-US" sz="1600" b="1" dirty="0">
                <a:solidFill>
                  <a:srgbClr val="013C74"/>
                </a:solidFill>
              </a:rPr>
              <a:t>510 </a:t>
            </a:r>
            <a:r>
              <a:rPr lang="en-US" sz="1600" b="1" dirty="0" err="1">
                <a:solidFill>
                  <a:srgbClr val="013C74"/>
                </a:solidFill>
              </a:rPr>
              <a:t>TWh</a:t>
            </a:r>
            <a:endParaRPr lang="en-US" sz="1600" b="1" dirty="0">
              <a:solidFill>
                <a:srgbClr val="013C74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C0DA328-C161-467D-8989-E08ACDF0C762}"/>
              </a:ext>
            </a:extLst>
          </p:cNvPr>
          <p:cNvSpPr>
            <a:spLocks/>
          </p:cNvSpPr>
          <p:nvPr/>
        </p:nvSpPr>
        <p:spPr>
          <a:xfrm>
            <a:off x="2817458" y="1562399"/>
            <a:ext cx="9012591" cy="4705088"/>
          </a:xfrm>
          <a:prstGeom prst="rect">
            <a:avLst/>
          </a:prstGeom>
          <a:solidFill>
            <a:srgbClr val="82C5EB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70"/>
            <a:r>
              <a:rPr lang="en-US" sz="1600" b="1" dirty="0">
                <a:solidFill>
                  <a:srgbClr val="013C74"/>
                </a:solidFill>
                <a:latin typeface="+mj-lt"/>
              </a:rPr>
              <a:t>„</a:t>
            </a:r>
            <a:r>
              <a:rPr lang="en-US" sz="1600" b="1" dirty="0" err="1">
                <a:solidFill>
                  <a:srgbClr val="013C74"/>
                </a:solidFill>
                <a:latin typeface="+mj-lt"/>
              </a:rPr>
              <a:t>Moleküle</a:t>
            </a:r>
            <a:r>
              <a:rPr lang="en-US" sz="1600" b="1" dirty="0">
                <a:solidFill>
                  <a:srgbClr val="013C74"/>
                </a:solidFill>
                <a:latin typeface="+mj-lt"/>
              </a:rPr>
              <a:t>“</a:t>
            </a:r>
          </a:p>
          <a:p>
            <a:pPr algn="ctr" defTabSz="1219170"/>
            <a:r>
              <a:rPr lang="en-US" sz="1600" b="1" dirty="0">
                <a:solidFill>
                  <a:srgbClr val="013C74"/>
                </a:solidFill>
                <a:latin typeface="+mj-lt"/>
              </a:rPr>
              <a:t>1894 </a:t>
            </a:r>
            <a:r>
              <a:rPr lang="en-US" sz="1600" b="1" dirty="0" err="1">
                <a:solidFill>
                  <a:srgbClr val="013C74"/>
                </a:solidFill>
                <a:latin typeface="+mj-lt"/>
              </a:rPr>
              <a:t>TWh</a:t>
            </a:r>
            <a:endParaRPr lang="en-US" sz="1600" b="1" dirty="0">
              <a:solidFill>
                <a:srgbClr val="013C74"/>
              </a:solidFill>
              <a:latin typeface="+mj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64D1B57-7AC1-4C2F-89C1-26C427E8F744}"/>
              </a:ext>
            </a:extLst>
          </p:cNvPr>
          <p:cNvSpPr/>
          <p:nvPr/>
        </p:nvSpPr>
        <p:spPr>
          <a:xfrm>
            <a:off x="5848096" y="4562665"/>
            <a:ext cx="3548750" cy="49032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1" rIns="91440" bIns="45721">
            <a:spAutoFit/>
          </a:bodyPr>
          <a:lstStyle/>
          <a:p>
            <a:pPr algn="ctr" defTabSz="1219170"/>
            <a:endParaRPr lang="en-US" sz="1200" b="1" spc="49">
              <a:ln w="9525" cmpd="sng">
                <a:noFill/>
                <a:prstDash val="solid"/>
              </a:ln>
              <a:solidFill>
                <a:srgbClr val="013C74"/>
              </a:solidFill>
              <a:latin typeface="Arial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B68FE82-05A4-422C-AA24-5A1DC30BE34F}"/>
              </a:ext>
            </a:extLst>
          </p:cNvPr>
          <p:cNvSpPr/>
          <p:nvPr/>
        </p:nvSpPr>
        <p:spPr>
          <a:xfrm>
            <a:off x="1483515" y="2912352"/>
            <a:ext cx="6684740" cy="49032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1" rIns="91440" bIns="45721">
            <a:spAutoFit/>
          </a:bodyPr>
          <a:lstStyle/>
          <a:p>
            <a:pPr algn="ctr" defTabSz="1219170"/>
            <a:endParaRPr lang="en-US" sz="1200" b="1" spc="49">
              <a:ln w="9525" cmpd="sng">
                <a:noFill/>
                <a:prstDash val="solid"/>
              </a:ln>
              <a:solidFill>
                <a:srgbClr val="013C74"/>
              </a:solidFill>
              <a:latin typeface="Arial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6B74E6A-0C44-42BB-99F2-F7E78F3B02F8}"/>
              </a:ext>
            </a:extLst>
          </p:cNvPr>
          <p:cNvSpPr>
            <a:spLocks/>
          </p:cNvSpPr>
          <p:nvPr/>
        </p:nvSpPr>
        <p:spPr>
          <a:xfrm rot="10800000">
            <a:off x="2829834" y="5820250"/>
            <a:ext cx="8989715" cy="433327"/>
          </a:xfrm>
          <a:prstGeom prst="rect">
            <a:avLst/>
          </a:prstGeom>
          <a:pattFill prst="dkUpDiag">
            <a:fgClr>
              <a:srgbClr val="82C5EB"/>
            </a:fgClr>
            <a:bgClr>
              <a:srgbClr val="FFEF18"/>
            </a:bgClr>
          </a:pattFill>
          <a:ln w="25400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spcBef>
                <a:spcPct val="50000"/>
              </a:spcBef>
              <a:defRPr/>
            </a:pPr>
            <a:endParaRPr lang="en-US" sz="1200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Pfeil: nach rechts 10">
            <a:extLst>
              <a:ext uri="{FF2B5EF4-FFF2-40B4-BE49-F238E27FC236}">
                <a16:creationId xmlns:a16="http://schemas.microsoft.com/office/drawing/2014/main" id="{67190E9F-7A92-4DE1-820B-4818E80D9163}"/>
              </a:ext>
            </a:extLst>
          </p:cNvPr>
          <p:cNvSpPr/>
          <p:nvPr/>
        </p:nvSpPr>
        <p:spPr>
          <a:xfrm rot="16200000">
            <a:off x="7227513" y="5134083"/>
            <a:ext cx="489795" cy="869314"/>
          </a:xfrm>
          <a:prstGeom prst="rightArrow">
            <a:avLst/>
          </a:prstGeom>
          <a:solidFill>
            <a:srgbClr val="53A53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AB74BB0-FE35-48E5-A538-FEC743BF3CF6}"/>
              </a:ext>
            </a:extLst>
          </p:cNvPr>
          <p:cNvSpPr/>
          <p:nvPr/>
        </p:nvSpPr>
        <p:spPr>
          <a:xfrm>
            <a:off x="2796459" y="5904714"/>
            <a:ext cx="5493694" cy="2820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219170"/>
            <a:r>
              <a:rPr lang="en-US" sz="1200" b="1" dirty="0" err="1">
                <a:solidFill>
                  <a:srgbClr val="013C74"/>
                </a:solidFill>
              </a:rPr>
              <a:t>Biomasse</a:t>
            </a:r>
            <a:r>
              <a:rPr lang="en-US" sz="1200" b="1" dirty="0">
                <a:solidFill>
                  <a:srgbClr val="013C74"/>
                </a:solidFill>
              </a:rPr>
              <a:t> - 177 </a:t>
            </a:r>
            <a:r>
              <a:rPr lang="en-US" sz="1200" b="1" dirty="0" err="1">
                <a:solidFill>
                  <a:srgbClr val="013C74"/>
                </a:solidFill>
              </a:rPr>
              <a:t>TWh</a:t>
            </a:r>
            <a:endParaRPr lang="en-US" sz="1200" b="1" dirty="0">
              <a:solidFill>
                <a:srgbClr val="013C74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DDA523F-A137-4924-93AA-8642A766C8A2}"/>
              </a:ext>
            </a:extLst>
          </p:cNvPr>
          <p:cNvSpPr>
            <a:spLocks/>
          </p:cNvSpPr>
          <p:nvPr/>
        </p:nvSpPr>
        <p:spPr>
          <a:xfrm rot="10800000">
            <a:off x="368996" y="4522919"/>
            <a:ext cx="2410779" cy="1730660"/>
          </a:xfrm>
          <a:prstGeom prst="rect">
            <a:avLst/>
          </a:prstGeom>
          <a:pattFill prst="wdUpDiag">
            <a:fgClr>
              <a:srgbClr val="CED848"/>
            </a:fgClr>
            <a:bgClr>
              <a:schemeClr val="accent6"/>
            </a:bgClr>
          </a:pattFill>
          <a:ln w="25400" cap="flat" cmpd="sng" algn="ctr">
            <a:solidFill>
              <a:schemeClr val="accent3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spcBef>
                <a:spcPct val="50000"/>
              </a:spcBef>
              <a:defRPr/>
            </a:pPr>
            <a:endParaRPr lang="en-US" sz="1200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E130EA6-AFBC-4FD0-8B78-F0821B8675D6}"/>
              </a:ext>
            </a:extLst>
          </p:cNvPr>
          <p:cNvSpPr/>
          <p:nvPr/>
        </p:nvSpPr>
        <p:spPr>
          <a:xfrm>
            <a:off x="119502" y="5703605"/>
            <a:ext cx="2851979" cy="470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/>
            <a:r>
              <a:rPr lang="en-US" sz="1200" b="1" dirty="0">
                <a:solidFill>
                  <a:srgbClr val="013C74"/>
                </a:solidFill>
              </a:rPr>
              <a:t>EE Strom</a:t>
            </a:r>
          </a:p>
          <a:p>
            <a:pPr algn="ctr" defTabSz="1219170"/>
            <a:r>
              <a:rPr lang="en-US" sz="1200" b="1" dirty="0">
                <a:solidFill>
                  <a:srgbClr val="013C74"/>
                </a:solidFill>
              </a:rPr>
              <a:t>188 </a:t>
            </a:r>
            <a:r>
              <a:rPr lang="en-US" sz="1200" b="1" dirty="0" err="1">
                <a:solidFill>
                  <a:srgbClr val="013C74"/>
                </a:solidFill>
              </a:rPr>
              <a:t>TWh</a:t>
            </a:r>
            <a:endParaRPr lang="en-US" sz="1200" b="1" dirty="0">
              <a:solidFill>
                <a:srgbClr val="013C74"/>
              </a:solidFill>
            </a:endParaRPr>
          </a:p>
        </p:txBody>
      </p:sp>
      <p:sp>
        <p:nvSpPr>
          <p:cNvPr id="16" name="Pfeil: nach rechts 9">
            <a:extLst>
              <a:ext uri="{FF2B5EF4-FFF2-40B4-BE49-F238E27FC236}">
                <a16:creationId xmlns:a16="http://schemas.microsoft.com/office/drawing/2014/main" id="{A83AD40C-01E4-4C26-B565-0879216B423A}"/>
              </a:ext>
            </a:extLst>
          </p:cNvPr>
          <p:cNvSpPr/>
          <p:nvPr/>
        </p:nvSpPr>
        <p:spPr>
          <a:xfrm rot="16200000">
            <a:off x="1278501" y="3878021"/>
            <a:ext cx="489795" cy="790288"/>
          </a:xfrm>
          <a:prstGeom prst="rightArrow">
            <a:avLst/>
          </a:prstGeom>
          <a:solidFill>
            <a:srgbClr val="53A53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65911AF-0CDA-47DB-A396-59472F8E2BAB}"/>
              </a:ext>
            </a:extLst>
          </p:cNvPr>
          <p:cNvSpPr/>
          <p:nvPr/>
        </p:nvSpPr>
        <p:spPr>
          <a:xfrm>
            <a:off x="6615047" y="4579736"/>
            <a:ext cx="5060413" cy="1169553"/>
          </a:xfrm>
          <a:prstGeom prst="rect">
            <a:avLst/>
          </a:prstGeom>
          <a:noFill/>
        </p:spPr>
        <p:txBody>
          <a:bodyPr wrap="square" lIns="91440" tIns="45721" rIns="91440" bIns="45721">
            <a:spAutoFit/>
          </a:bodyPr>
          <a:lstStyle/>
          <a:p>
            <a:pPr marL="228594" indent="-228594">
              <a:buFont typeface="Symbol" panose="05050102010706020507" pitchFamily="18" charset="2"/>
              <a:buChar char="-"/>
            </a:pPr>
            <a:r>
              <a:rPr lang="en-US" sz="1400" b="1" dirty="0" err="1">
                <a:ln w="0"/>
                <a:solidFill>
                  <a:srgbClr val="013C7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lt"/>
              </a:rPr>
              <a:t>Biomasse</a:t>
            </a:r>
            <a:r>
              <a:rPr lang="en-US" sz="1400" b="1" dirty="0">
                <a:ln w="0"/>
                <a:solidFill>
                  <a:srgbClr val="013C7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lt"/>
              </a:rPr>
              <a:t> </a:t>
            </a:r>
          </a:p>
          <a:p>
            <a:pPr marL="228594" indent="-228594">
              <a:buFont typeface="Symbol" panose="05050102010706020507" pitchFamily="18" charset="2"/>
              <a:buChar char="-"/>
            </a:pPr>
            <a:r>
              <a:rPr lang="en-US" sz="1400" b="1" dirty="0">
                <a:ln w="0"/>
                <a:solidFill>
                  <a:srgbClr val="013C7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lt"/>
              </a:rPr>
              <a:t>H2</a:t>
            </a:r>
          </a:p>
          <a:p>
            <a:pPr marL="228594" indent="-228594">
              <a:buFont typeface="Symbol" panose="05050102010706020507" pitchFamily="18" charset="2"/>
              <a:buChar char="-"/>
            </a:pPr>
            <a:r>
              <a:rPr lang="en-US" sz="1400" b="1" dirty="0">
                <a:ln w="0"/>
                <a:solidFill>
                  <a:srgbClr val="013C7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lt"/>
              </a:rPr>
              <a:t>H2-basierte </a:t>
            </a:r>
            <a:r>
              <a:rPr lang="en-US" sz="1400" b="1" dirty="0" err="1">
                <a:ln w="0"/>
                <a:solidFill>
                  <a:srgbClr val="013C7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lt"/>
              </a:rPr>
              <a:t>Energieträger</a:t>
            </a:r>
            <a:endParaRPr lang="en-US" sz="1400" b="1" dirty="0">
              <a:ln w="0"/>
              <a:solidFill>
                <a:srgbClr val="013C74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  <a:p>
            <a:pPr algn="r"/>
            <a:endParaRPr lang="en-US" sz="1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  <a:p>
            <a:pPr algn="r"/>
            <a:endParaRPr lang="en-US" sz="1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47D4A205-A5BE-46D1-9774-51E68C2CF532}"/>
              </a:ext>
            </a:extLst>
          </p:cNvPr>
          <p:cNvCxnSpPr/>
          <p:nvPr/>
        </p:nvCxnSpPr>
        <p:spPr>
          <a:xfrm>
            <a:off x="2806959" y="1560513"/>
            <a:ext cx="0" cy="470595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632AC3D8-6F1B-4EEA-B5B7-806305F0AD48}"/>
              </a:ext>
            </a:extLst>
          </p:cNvPr>
          <p:cNvGrpSpPr/>
          <p:nvPr/>
        </p:nvGrpSpPr>
        <p:grpSpPr>
          <a:xfrm>
            <a:off x="1022329" y="2387275"/>
            <a:ext cx="4245469" cy="3246589"/>
            <a:chOff x="4991459" y="1595790"/>
            <a:chExt cx="1259991" cy="1375575"/>
          </a:xfrm>
        </p:grpSpPr>
        <p:sp>
          <p:nvSpPr>
            <p:cNvPr id="21" name="Pfeil nach links und rechts 40">
              <a:extLst>
                <a:ext uri="{FF2B5EF4-FFF2-40B4-BE49-F238E27FC236}">
                  <a16:creationId xmlns:a16="http://schemas.microsoft.com/office/drawing/2014/main" id="{699961F4-83E5-4F70-8911-8D1FC15F9731}"/>
                </a:ext>
              </a:extLst>
            </p:cNvPr>
            <p:cNvSpPr/>
            <p:nvPr/>
          </p:nvSpPr>
          <p:spPr>
            <a:xfrm>
              <a:off x="4991459" y="1595790"/>
              <a:ext cx="1259991" cy="534484"/>
            </a:xfrm>
            <a:prstGeom prst="leftRightArrow">
              <a:avLst/>
            </a:prstGeom>
            <a:gradFill flip="none" rotWithShape="1">
              <a:gsLst>
                <a:gs pos="29000">
                  <a:schemeClr val="accent6"/>
                </a:gs>
                <a:gs pos="70000">
                  <a:srgbClr val="82C5EB"/>
                </a:gs>
              </a:gsLst>
              <a:lin ang="0" scaled="1"/>
              <a:tileRect/>
            </a:gradFill>
            <a:ln w="19050" cmpd="sng">
              <a:solidFill>
                <a:srgbClr val="013C7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/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0BD02C3D-08F7-4267-B8C2-C80A64A9196F}"/>
                </a:ext>
              </a:extLst>
            </p:cNvPr>
            <p:cNvSpPr txBox="1"/>
            <p:nvPr/>
          </p:nvSpPr>
          <p:spPr>
            <a:xfrm>
              <a:off x="5445653" y="1803272"/>
              <a:ext cx="522900" cy="119520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defTabSz="1219170"/>
              <a:r>
                <a:rPr lang="en-US" sz="1200" b="1" dirty="0" err="1"/>
                <a:t>Markt</a:t>
              </a:r>
              <a:endParaRPr lang="en-US" sz="1200" b="1" dirty="0"/>
            </a:p>
          </p:txBody>
        </p:sp>
        <p:sp>
          <p:nvSpPr>
            <p:cNvPr id="23" name="Pfeil nach links und rechts 43">
              <a:extLst>
                <a:ext uri="{FF2B5EF4-FFF2-40B4-BE49-F238E27FC236}">
                  <a16:creationId xmlns:a16="http://schemas.microsoft.com/office/drawing/2014/main" id="{EE3D194C-7B03-484C-BAA3-B8276B07550E}"/>
                </a:ext>
              </a:extLst>
            </p:cNvPr>
            <p:cNvSpPr/>
            <p:nvPr/>
          </p:nvSpPr>
          <p:spPr>
            <a:xfrm>
              <a:off x="4991459" y="2670594"/>
              <a:ext cx="1259991" cy="300771"/>
            </a:xfrm>
            <a:prstGeom prst="leftRightArrow">
              <a:avLst>
                <a:gd name="adj1" fmla="val 50000"/>
                <a:gd name="adj2" fmla="val 90044"/>
              </a:avLst>
            </a:prstGeom>
            <a:gradFill flip="none" rotWithShape="1">
              <a:gsLst>
                <a:gs pos="29000">
                  <a:schemeClr val="accent6"/>
                </a:gs>
                <a:gs pos="70000">
                  <a:srgbClr val="82C5EB"/>
                </a:gs>
              </a:gsLst>
              <a:lin ang="0" scaled="1"/>
              <a:tileRect/>
            </a:gradFill>
            <a:ln w="19050" cmpd="sng">
              <a:solidFill>
                <a:srgbClr val="013C7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/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FD4726A7-2804-40C8-87B9-CCDC8FE699F8}"/>
                </a:ext>
              </a:extLst>
            </p:cNvPr>
            <p:cNvSpPr txBox="1"/>
            <p:nvPr/>
          </p:nvSpPr>
          <p:spPr>
            <a:xfrm>
              <a:off x="5377318" y="2762342"/>
              <a:ext cx="418277" cy="117364"/>
            </a:xfrm>
            <a:prstGeom prst="rect">
              <a:avLst/>
            </a:prstGeom>
            <a:noFill/>
            <a:effectLst/>
          </p:spPr>
          <p:txBody>
            <a:bodyPr wrap="none" rtlCol="0">
              <a:spAutoFit/>
            </a:bodyPr>
            <a:lstStyle/>
            <a:p>
              <a:pPr defTabSz="1219170"/>
              <a:r>
                <a:rPr lang="en-US" sz="1200" b="1" dirty="0" err="1">
                  <a:solidFill>
                    <a:srgbClr val="013C74"/>
                  </a:solidFill>
                </a:rPr>
                <a:t>Systemstabilität</a:t>
              </a:r>
              <a:endParaRPr lang="en-US" sz="1200" b="1" dirty="0">
                <a:solidFill>
                  <a:srgbClr val="013C74"/>
                </a:solidFill>
              </a:endParaRPr>
            </a:p>
          </p:txBody>
        </p:sp>
      </p:grpSp>
      <p:sp>
        <p:nvSpPr>
          <p:cNvPr id="35" name="Datumsplatzhalter 34">
            <a:extLst>
              <a:ext uri="{FF2B5EF4-FFF2-40B4-BE49-F238E27FC236}">
                <a16:creationId xmlns:a16="http://schemas.microsoft.com/office/drawing/2014/main" id="{2FDCE6FB-2A40-4896-BA38-43CE19468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1050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071CDED3-2286-445C-B50E-D620C047F365}"/>
              </a:ext>
            </a:extLst>
          </p:cNvPr>
          <p:cNvSpPr/>
          <p:nvPr/>
        </p:nvSpPr>
        <p:spPr>
          <a:xfrm>
            <a:off x="358774" y="1581707"/>
            <a:ext cx="11471275" cy="49159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44000" bIns="180000" rtlCol="0" anchor="ctr"/>
          <a:lstStyle/>
          <a:p>
            <a:pPr algn="ctr"/>
            <a:endParaRPr lang="de-DE" sz="1400">
              <a:latin typeface="Ubuntu" panose="020B0504030602030204" pitchFamily="34" charset="0"/>
            </a:endParaRPr>
          </a:p>
        </p:txBody>
      </p:sp>
      <p:pic>
        <p:nvPicPr>
          <p:cNvPr id="4104" name="Picture 8">
            <a:extLst>
              <a:ext uri="{FF2B5EF4-FFF2-40B4-BE49-F238E27FC236}">
                <a16:creationId xmlns:a16="http://schemas.microsoft.com/office/drawing/2014/main" id="{691C5776-B8D5-4A9B-BACD-960AD07028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8083" y="2719566"/>
            <a:ext cx="4253465" cy="224768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>
            <a:extLst>
              <a:ext uri="{FF2B5EF4-FFF2-40B4-BE49-F238E27FC236}">
                <a16:creationId xmlns:a16="http://schemas.microsoft.com/office/drawing/2014/main" id="{EF89C60B-162D-4597-8103-59F533DA0C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91" y="1747456"/>
            <a:ext cx="2433925" cy="181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4" name="Picture 18">
            <a:extLst>
              <a:ext uri="{FF2B5EF4-FFF2-40B4-BE49-F238E27FC236}">
                <a16:creationId xmlns:a16="http://schemas.microsoft.com/office/drawing/2014/main" id="{7709F8A0-41E0-46FB-9447-33D32CEF7C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9" t="13304" r="-739" b="13339"/>
          <a:stretch/>
        </p:blipFill>
        <p:spPr bwMode="auto">
          <a:xfrm>
            <a:off x="5757896" y="1653981"/>
            <a:ext cx="3188857" cy="1754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Inhaltsplatzhalter 12" descr="Ein Bild, das Maschine, Himmel, Objekt, draußen enthält.&#10;&#10;Mit sehr hoher Zuverlässigkeit generierte Beschreibung">
            <a:extLst>
              <a:ext uri="{FF2B5EF4-FFF2-40B4-BE49-F238E27FC236}">
                <a16:creationId xmlns:a16="http://schemas.microsoft.com/office/drawing/2014/main" id="{FD262769-1347-4B69-BACB-639EDD78B63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flipH="1">
            <a:off x="4298182" y="2649870"/>
            <a:ext cx="5055640" cy="3061850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5665779C-7AE7-437A-A99E-FACD236BDC6B}"/>
              </a:ext>
            </a:extLst>
          </p:cNvPr>
          <p:cNvSpPr txBox="1"/>
          <p:nvPr/>
        </p:nvSpPr>
        <p:spPr>
          <a:xfrm>
            <a:off x="4765650" y="3762197"/>
            <a:ext cx="2034437" cy="52322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5000">
                <a:schemeClr val="bg1">
                  <a:alpha val="25000"/>
                </a:schemeClr>
              </a:gs>
            </a:gsLst>
            <a:lin ang="21594000" scaled="0"/>
            <a:tileRect/>
          </a:gradFill>
          <a:ln>
            <a:noFill/>
          </a:ln>
        </p:spPr>
        <p:txBody>
          <a:bodyPr wrap="square" rtlCol="0">
            <a:spAutoFit/>
          </a:bodyPr>
          <a:lstStyle/>
          <a:p>
            <a:pPr defTabSz="914309"/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Wasserstoff-</a:t>
            </a:r>
          </a:p>
          <a:p>
            <a:pPr defTabSz="914309"/>
            <a:r>
              <a:rPr lang="de-DE" sz="1400" b="1" err="1">
                <a:solidFill>
                  <a:prstClr val="black"/>
                </a:solidFill>
                <a:latin typeface="Ubuntu" panose="020B0504030602030204" pitchFamily="34" charset="0"/>
              </a:rPr>
              <a:t>turbine</a:t>
            </a:r>
            <a:endParaRPr lang="de-DE" sz="1400" b="1">
              <a:solidFill>
                <a:prstClr val="black"/>
              </a:solidFill>
              <a:latin typeface="Ubuntu" panose="020B0504030602030204" pitchFamily="34" charset="0"/>
            </a:endParaRPr>
          </a:p>
        </p:txBody>
      </p:sp>
      <p:pic>
        <p:nvPicPr>
          <p:cNvPr id="4112" name="Picture 16" descr="Nikola bringt Wasserstoff-LKW nach Europa">
            <a:extLst>
              <a:ext uri="{FF2B5EF4-FFF2-40B4-BE49-F238E27FC236}">
                <a16:creationId xmlns:a16="http://schemas.microsoft.com/office/drawing/2014/main" id="{433141D2-A88D-4CE3-955D-FE2DA8151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9188" y="1490798"/>
            <a:ext cx="3580097" cy="2013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EF5D86BE-C6A9-4C11-AA13-991E22FC2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asserstoffnutzung morg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81FF755-14CE-4220-AC78-609804AF4E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Wasserstoff kann in allen Sektoren verwendet werden.</a:t>
            </a:r>
          </a:p>
        </p:txBody>
      </p:sp>
      <p:pic>
        <p:nvPicPr>
          <p:cNvPr id="4098" name="Picture 2" descr="Die Vitovalor PT2 ist das Nachfolgemodell der Vitovalor 300-P. (Grafiken: Viessmann Werke GmbH &amp; Co. KG)">
            <a:extLst>
              <a:ext uri="{FF2B5EF4-FFF2-40B4-BE49-F238E27FC236}">
                <a16:creationId xmlns:a16="http://schemas.microsoft.com/office/drawing/2014/main" id="{33B05116-3E27-4A7A-9872-B07BB34540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656"/>
          <a:stretch/>
        </p:blipFill>
        <p:spPr bwMode="auto">
          <a:xfrm>
            <a:off x="1897042" y="2928622"/>
            <a:ext cx="2747615" cy="3614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>
            <a:extLst>
              <a:ext uri="{FF2B5EF4-FFF2-40B4-BE49-F238E27FC236}">
                <a16:creationId xmlns:a16="http://schemas.microsoft.com/office/drawing/2014/main" id="{1DDD22F4-D220-42CB-B59F-F821456091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7013" y="4920906"/>
            <a:ext cx="2417790" cy="135912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>
            <a:extLst>
              <a:ext uri="{FF2B5EF4-FFF2-40B4-BE49-F238E27FC236}">
                <a16:creationId xmlns:a16="http://schemas.microsoft.com/office/drawing/2014/main" id="{826E7891-FEAE-4359-AD9C-C443F40BAD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30" t="20531" r="32315" b="4172"/>
          <a:stretch/>
        </p:blipFill>
        <p:spPr bwMode="auto">
          <a:xfrm>
            <a:off x="406674" y="3557076"/>
            <a:ext cx="1806725" cy="278463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id="{696D241C-9E87-40B9-895B-5908709863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35" r="27717"/>
          <a:stretch/>
        </p:blipFill>
        <p:spPr bwMode="auto">
          <a:xfrm>
            <a:off x="3218311" y="1603623"/>
            <a:ext cx="1805105" cy="253214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6851FB1F-3AE1-48F4-AA15-AD935933061A}"/>
              </a:ext>
            </a:extLst>
          </p:cNvPr>
          <p:cNvSpPr txBox="1"/>
          <p:nvPr/>
        </p:nvSpPr>
        <p:spPr>
          <a:xfrm>
            <a:off x="2273896" y="5114973"/>
            <a:ext cx="2034437" cy="52322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5000">
                <a:schemeClr val="bg1">
                  <a:alpha val="25000"/>
                </a:schemeClr>
              </a:gs>
            </a:gsLst>
            <a:lin ang="21594000" scaled="0"/>
            <a:tileRect/>
          </a:gradFill>
          <a:ln>
            <a:noFill/>
          </a:ln>
        </p:spPr>
        <p:txBody>
          <a:bodyPr wrap="square" rtlCol="0">
            <a:spAutoFit/>
          </a:bodyPr>
          <a:lstStyle/>
          <a:p>
            <a:pPr defTabSz="914309"/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Brennstoffzellen-</a:t>
            </a:r>
            <a:b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</a:br>
            <a:r>
              <a:rPr lang="de-DE" sz="1400" b="1" err="1">
                <a:solidFill>
                  <a:prstClr val="black"/>
                </a:solidFill>
                <a:latin typeface="Ubuntu" panose="020B0504030602030204" pitchFamily="34" charset="0"/>
              </a:rPr>
              <a:t>heizung</a:t>
            </a:r>
            <a:endParaRPr lang="de-DE" sz="1400" b="1">
              <a:solidFill>
                <a:prstClr val="black"/>
              </a:solidFill>
              <a:latin typeface="Ubuntu" panose="020B050403060203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98DC6AB-2BFE-447B-A7DD-40E248C19B1A}"/>
              </a:ext>
            </a:extLst>
          </p:cNvPr>
          <p:cNvSpPr txBox="1"/>
          <p:nvPr/>
        </p:nvSpPr>
        <p:spPr>
          <a:xfrm>
            <a:off x="3452768" y="2772103"/>
            <a:ext cx="1415864" cy="52322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5000">
                <a:schemeClr val="bg1">
                  <a:alpha val="25000"/>
                </a:schemeClr>
              </a:gs>
            </a:gsLst>
            <a:lin ang="21594000" scaled="0"/>
            <a:tileRect/>
          </a:gradFill>
          <a:ln>
            <a:noFill/>
          </a:ln>
        </p:spPr>
        <p:txBody>
          <a:bodyPr wrap="square" rtlCol="0">
            <a:spAutoFit/>
          </a:bodyPr>
          <a:lstStyle/>
          <a:p>
            <a:pPr defTabSz="914309"/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Wasserstoff-</a:t>
            </a:r>
            <a:b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</a:br>
            <a:r>
              <a:rPr lang="de-DE" sz="1400" b="1" err="1">
                <a:solidFill>
                  <a:prstClr val="black"/>
                </a:solidFill>
                <a:latin typeface="Ubuntu" panose="020B0504030602030204" pitchFamily="34" charset="0"/>
              </a:rPr>
              <a:t>therme</a:t>
            </a:r>
            <a:endParaRPr lang="de-DE" sz="1400" b="1">
              <a:solidFill>
                <a:prstClr val="black"/>
              </a:solidFill>
              <a:latin typeface="Ubuntu" panose="020B0504030602030204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573BA70-49B1-46FB-9A76-E9C8E0798735}"/>
              </a:ext>
            </a:extLst>
          </p:cNvPr>
          <p:cNvSpPr txBox="1"/>
          <p:nvPr/>
        </p:nvSpPr>
        <p:spPr>
          <a:xfrm>
            <a:off x="707199" y="4568371"/>
            <a:ext cx="1687343" cy="52322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5000">
                <a:schemeClr val="bg1">
                  <a:alpha val="25000"/>
                </a:schemeClr>
              </a:gs>
            </a:gsLst>
            <a:lin ang="21594000" scaled="0"/>
            <a:tileRect/>
          </a:gradFill>
          <a:ln>
            <a:noFill/>
          </a:ln>
        </p:spPr>
        <p:txBody>
          <a:bodyPr wrap="square" rtlCol="0">
            <a:spAutoFit/>
          </a:bodyPr>
          <a:lstStyle/>
          <a:p>
            <a:pPr defTabSz="914309"/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Brennstoffzelle Gewerbe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162FF29-217B-457F-A987-75EE505A2558}"/>
              </a:ext>
            </a:extLst>
          </p:cNvPr>
          <p:cNvSpPr txBox="1"/>
          <p:nvPr/>
        </p:nvSpPr>
        <p:spPr>
          <a:xfrm>
            <a:off x="713083" y="2419547"/>
            <a:ext cx="1687343" cy="52322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5000">
                <a:schemeClr val="bg1">
                  <a:alpha val="25000"/>
                </a:schemeClr>
              </a:gs>
            </a:gsLst>
            <a:lin ang="21594000" scaled="0"/>
            <a:tileRect/>
          </a:gradFill>
          <a:ln>
            <a:noFill/>
          </a:ln>
        </p:spPr>
        <p:txBody>
          <a:bodyPr wrap="square" rtlCol="0">
            <a:spAutoFit/>
          </a:bodyPr>
          <a:lstStyle/>
          <a:p>
            <a:pPr defTabSz="914309"/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Brennstoffzelle Industri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D0F3FAB-6978-4696-A231-5057C7121DD6}"/>
              </a:ext>
            </a:extLst>
          </p:cNvPr>
          <p:cNvSpPr txBox="1"/>
          <p:nvPr/>
        </p:nvSpPr>
        <p:spPr>
          <a:xfrm>
            <a:off x="5725891" y="2203649"/>
            <a:ext cx="2034437" cy="30777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5000">
                <a:schemeClr val="bg1">
                  <a:alpha val="25000"/>
                </a:schemeClr>
              </a:gs>
            </a:gsLst>
            <a:lin ang="21594000" scaled="0"/>
            <a:tileRect/>
          </a:gradFill>
          <a:ln>
            <a:noFill/>
          </a:ln>
        </p:spPr>
        <p:txBody>
          <a:bodyPr wrap="square" rtlCol="0">
            <a:spAutoFit/>
          </a:bodyPr>
          <a:lstStyle/>
          <a:p>
            <a:pPr defTabSz="914309"/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Stahlerzeugung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DB267D3-4858-41C9-AD7A-0D27A49558B0}"/>
              </a:ext>
            </a:extLst>
          </p:cNvPr>
          <p:cNvSpPr txBox="1"/>
          <p:nvPr/>
        </p:nvSpPr>
        <p:spPr>
          <a:xfrm>
            <a:off x="9437734" y="3482910"/>
            <a:ext cx="2034437" cy="52322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5000">
                <a:schemeClr val="bg1">
                  <a:alpha val="25000"/>
                </a:schemeClr>
              </a:gs>
            </a:gsLst>
            <a:lin ang="21594000" scaled="0"/>
            <a:tileRect/>
          </a:gradFill>
          <a:ln>
            <a:noFill/>
          </a:ln>
        </p:spPr>
        <p:txBody>
          <a:bodyPr wrap="square" rtlCol="0">
            <a:spAutoFit/>
          </a:bodyPr>
          <a:lstStyle/>
          <a:p>
            <a:pPr defTabSz="914309"/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Brennstoffzellen-</a:t>
            </a:r>
            <a:b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</a:br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Zug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DC7C1B0B-E81F-4EC4-B2A9-9F4393A01540}"/>
              </a:ext>
            </a:extLst>
          </p:cNvPr>
          <p:cNvSpPr txBox="1"/>
          <p:nvPr/>
        </p:nvSpPr>
        <p:spPr>
          <a:xfrm>
            <a:off x="9040888" y="5520591"/>
            <a:ext cx="2034437" cy="52322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5000">
                <a:schemeClr val="bg1">
                  <a:alpha val="25000"/>
                </a:schemeClr>
              </a:gs>
            </a:gsLst>
            <a:lin ang="21594000" scaled="0"/>
            <a:tileRect/>
          </a:gradFill>
          <a:ln>
            <a:noFill/>
          </a:ln>
        </p:spPr>
        <p:txBody>
          <a:bodyPr wrap="square" rtlCol="0">
            <a:spAutoFit/>
          </a:bodyPr>
          <a:lstStyle/>
          <a:p>
            <a:pPr defTabSz="914309"/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Brennstoffzellen-</a:t>
            </a:r>
            <a:b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</a:br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Pkw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FCE35D9-C866-4D35-A8F1-2790AAF698EA}"/>
              </a:ext>
            </a:extLst>
          </p:cNvPr>
          <p:cNvSpPr txBox="1"/>
          <p:nvPr/>
        </p:nvSpPr>
        <p:spPr>
          <a:xfrm>
            <a:off x="9135350" y="2186816"/>
            <a:ext cx="2034437" cy="52322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5000">
                <a:schemeClr val="bg1">
                  <a:alpha val="25000"/>
                </a:schemeClr>
              </a:gs>
            </a:gsLst>
            <a:lin ang="21594000" scaled="0"/>
            <a:tileRect/>
          </a:gradFill>
          <a:ln>
            <a:noFill/>
          </a:ln>
        </p:spPr>
        <p:txBody>
          <a:bodyPr wrap="square" rtlCol="0">
            <a:spAutoFit/>
          </a:bodyPr>
          <a:lstStyle/>
          <a:p>
            <a:pPr defTabSz="914309"/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Brennstoffzellen-</a:t>
            </a:r>
          </a:p>
          <a:p>
            <a:pPr defTabSz="914309"/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Lkw</a:t>
            </a:r>
          </a:p>
        </p:txBody>
      </p:sp>
      <p:pic>
        <p:nvPicPr>
          <p:cNvPr id="4102" name="Picture 6" descr="Toyota Wasserstoffbus">
            <a:extLst>
              <a:ext uri="{FF2B5EF4-FFF2-40B4-BE49-F238E27FC236}">
                <a16:creationId xmlns:a16="http://schemas.microsoft.com/office/drawing/2014/main" id="{343B84E8-9987-47A1-916F-E9CDA2D5A5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clrChange>
              <a:clrFrom>
                <a:srgbClr val="FDFCFD"/>
              </a:clrFrom>
              <a:clrTo>
                <a:srgbClr val="FDFC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4" t="27186" r="3073" b="25328"/>
          <a:stretch/>
        </p:blipFill>
        <p:spPr bwMode="auto">
          <a:xfrm>
            <a:off x="4416957" y="4853190"/>
            <a:ext cx="4525603" cy="141701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E8CC36A2-8CD8-49CD-9951-3B0C5AF1B4ED}"/>
              </a:ext>
            </a:extLst>
          </p:cNvPr>
          <p:cNvSpPr txBox="1"/>
          <p:nvPr/>
        </p:nvSpPr>
        <p:spPr>
          <a:xfrm>
            <a:off x="4439505" y="5324342"/>
            <a:ext cx="2034437" cy="52322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5000">
                <a:schemeClr val="bg1">
                  <a:alpha val="25000"/>
                </a:schemeClr>
              </a:gs>
            </a:gsLst>
            <a:lin ang="21594000" scaled="0"/>
            <a:tileRect/>
          </a:gradFill>
          <a:ln>
            <a:noFill/>
          </a:ln>
        </p:spPr>
        <p:txBody>
          <a:bodyPr wrap="square" rtlCol="0">
            <a:spAutoFit/>
          </a:bodyPr>
          <a:lstStyle/>
          <a:p>
            <a:pPr defTabSz="914309"/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Brennstoffzellen-</a:t>
            </a:r>
            <a:b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</a:br>
            <a:r>
              <a:rPr lang="de-DE" sz="1400" b="1">
                <a:solidFill>
                  <a:prstClr val="black"/>
                </a:solidFill>
                <a:latin typeface="Ubuntu" panose="020B0504030602030204" pitchFamily="34" charset="0"/>
              </a:rPr>
              <a:t>Bus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37A8E8B-8590-4EC5-92CF-4BD09C67BDD6}"/>
              </a:ext>
            </a:extLst>
          </p:cNvPr>
          <p:cNvSpPr/>
          <p:nvPr/>
        </p:nvSpPr>
        <p:spPr>
          <a:xfrm>
            <a:off x="11625506" y="6587591"/>
            <a:ext cx="40908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D44373-2D2E-48BF-BA6D-CFC58F0679E5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9" name="Fußzeilenplatzhalter 19">
            <a:extLst>
              <a:ext uri="{FF2B5EF4-FFF2-40B4-BE49-F238E27FC236}">
                <a16:creationId xmlns:a16="http://schemas.microsoft.com/office/drawing/2014/main" id="{37C82615-D182-4F71-BE02-015F21C5F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975600" y="6638423"/>
            <a:ext cx="4114800" cy="180000"/>
          </a:xfrm>
        </p:spPr>
        <p:txBody>
          <a:bodyPr/>
          <a:lstStyle/>
          <a:p>
            <a:pPr defTabSz="914309"/>
            <a:r>
              <a:rPr lang="de-DE">
                <a:solidFill>
                  <a:prstClr val="black"/>
                </a:solidFill>
                <a:latin typeface="Ubuntu" panose="020B0504030602030204" pitchFamily="34" charset="0"/>
              </a:rPr>
              <a:t>Dr. Timm Kehler, Zukunft Gas e.V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0186101-3B04-45FA-9F31-50E69F78B6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April 21</a:t>
            </a:r>
          </a:p>
        </p:txBody>
      </p:sp>
    </p:spTree>
    <p:extLst>
      <p:ext uri="{BB962C8B-B14F-4D97-AF65-F5344CB8AC3E}">
        <p14:creationId xmlns:p14="http://schemas.microsoft.com/office/powerpoint/2010/main" val="2691431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45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95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7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45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2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95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50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00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500"/>
                            </p:stCondLst>
                            <p:childTnLst>
                              <p:par>
                                <p:cTn id="5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000"/>
                            </p:stCondLst>
                            <p:childTnLst>
                              <p:par>
                                <p:cTn id="6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500"/>
                            </p:stCondLst>
                            <p:childTnLst>
                              <p:par>
                                <p:cTn id="6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000"/>
                            </p:stCondLst>
                            <p:childTnLst>
                              <p:par>
                                <p:cTn id="6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4500"/>
                            </p:stCondLst>
                            <p:childTnLst>
                              <p:par>
                                <p:cTn id="7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8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3" grpId="0" animBg="1"/>
      <p:bldP spid="27" grpId="0" animBg="1"/>
      <p:bldP spid="2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F80ABE-A6BE-4F51-AE05-0CE457D9D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uture </a:t>
            </a:r>
            <a:r>
              <a:rPr lang="en-GB" err="1"/>
              <a:t>nicht</a:t>
            </a:r>
            <a:r>
              <a:rPr lang="en-GB"/>
              <a:t> </a:t>
            </a:r>
            <a:r>
              <a:rPr lang="en-GB" err="1"/>
              <a:t>nur</a:t>
            </a:r>
            <a:r>
              <a:rPr lang="en-GB"/>
              <a:t> am Friday? </a:t>
            </a:r>
            <a:r>
              <a:rPr lang="en-GB" err="1"/>
              <a:t>Mit</a:t>
            </a:r>
            <a:r>
              <a:rPr lang="en-GB"/>
              <a:t> Gas </a:t>
            </a:r>
            <a:r>
              <a:rPr lang="en-GB" err="1"/>
              <a:t>geht’s</a:t>
            </a:r>
            <a:r>
              <a:rPr lang="en-GB"/>
              <a:t>!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8DD4307-0572-4A4C-A063-07A1B2F12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9/2021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17F2D895-FCB1-40CE-A690-C9E940925A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r. Timm Kehler / Zukunft Gas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9EB22DA-EFD2-473B-B5B7-6D5281E77D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C475C54-4C22-41E0-A6CF-A16BD6CB25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Fuel Switch</a:t>
            </a:r>
          </a:p>
          <a:p>
            <a:br>
              <a:rPr lang="de-DE"/>
            </a:br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A2CA434-7EC2-435F-B8B0-2C2A79C14401}"/>
              </a:ext>
            </a:extLst>
          </p:cNvPr>
          <p:cNvSpPr/>
          <p:nvPr/>
        </p:nvSpPr>
        <p:spPr>
          <a:xfrm>
            <a:off x="359568" y="1530850"/>
            <a:ext cx="3185015" cy="321000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8BCC0A8-2A35-49DE-88BB-4A1961076B9B}"/>
              </a:ext>
            </a:extLst>
          </p:cNvPr>
          <p:cNvSpPr/>
          <p:nvPr/>
        </p:nvSpPr>
        <p:spPr>
          <a:xfrm>
            <a:off x="4344229" y="1530849"/>
            <a:ext cx="3185015" cy="32100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954FBEB-4B44-4EDD-86B6-14310657F23A}"/>
              </a:ext>
            </a:extLst>
          </p:cNvPr>
          <p:cNvSpPr/>
          <p:nvPr/>
        </p:nvSpPr>
        <p:spPr>
          <a:xfrm>
            <a:off x="8328890" y="1530849"/>
            <a:ext cx="3185015" cy="32100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D1183FA7-EE83-46C4-9B99-2F1AB8D18A6C}"/>
              </a:ext>
            </a:extLst>
          </p:cNvPr>
          <p:cNvSpPr txBox="1">
            <a:spLocks/>
          </p:cNvSpPr>
          <p:nvPr/>
        </p:nvSpPr>
        <p:spPr>
          <a:xfrm>
            <a:off x="4554207" y="1769427"/>
            <a:ext cx="2765057" cy="4157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000" indent="-34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000" indent="-34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Ubuntu" panose="020B0504030602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000" indent="-34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Ubuntu" panose="020B050403060203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2000" indent="-34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2000" indent="-342000" algn="l" defTabSz="914400" rtl="0" eaLnBrk="1" latinLnBrk="0" hangingPunct="1">
              <a:lnSpc>
                <a:spcPct val="110000"/>
              </a:lnSpc>
              <a:spcBef>
                <a:spcPts val="3000"/>
              </a:spcBef>
              <a:spcAft>
                <a:spcPts val="600"/>
              </a:spcAft>
              <a:buFontTx/>
              <a:buNone/>
              <a:defRPr sz="2000" b="1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Effizienz 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</a:b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253A7659-CB08-4413-9FE7-B7F6CCE22AE8}"/>
              </a:ext>
            </a:extLst>
          </p:cNvPr>
          <p:cNvSpPr txBox="1">
            <a:spLocks/>
          </p:cNvSpPr>
          <p:nvPr/>
        </p:nvSpPr>
        <p:spPr>
          <a:xfrm>
            <a:off x="8451553" y="1769427"/>
            <a:ext cx="2939688" cy="20042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000" indent="-34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000" indent="-34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Ubuntu" panose="020B0504030602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000" indent="-34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Ubuntu" panose="020B050403060203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2000" indent="-34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2000" indent="-342000" algn="l" defTabSz="914400" rtl="0" eaLnBrk="1" latinLnBrk="0" hangingPunct="1">
              <a:lnSpc>
                <a:spcPct val="110000"/>
              </a:lnSpc>
              <a:spcBef>
                <a:spcPts val="3000"/>
              </a:spcBef>
              <a:spcAft>
                <a:spcPts val="600"/>
              </a:spcAft>
              <a:buFontTx/>
              <a:buNone/>
              <a:defRPr sz="2000" b="1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Klimaneutrales Gas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2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</a:br>
            <a:endParaRPr kumimoji="0" lang="de-DE" sz="2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E0E38EA-4389-4A91-9D70-66AFEAE5F0B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803" y="2562429"/>
            <a:ext cx="1097228" cy="109691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8863D48-DB54-45E5-B817-484EB47328C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175" y="3537208"/>
            <a:ext cx="899746" cy="900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7DEC5237-9C86-4749-BA49-D5955E384127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1575" y="2500522"/>
            <a:ext cx="831589" cy="831589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C9A47665-9583-48A8-92E0-A19656C9527C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794" y="2357995"/>
            <a:ext cx="1068832" cy="106853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6099806-FE41-4EA8-B9C8-0A7DA1A851CC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219" y="3306819"/>
            <a:ext cx="1160355" cy="116035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8415A1B-C02F-4DEC-8C0E-37051CF5B95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079" y="3070819"/>
            <a:ext cx="522732" cy="522585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96B67AA2-9E28-4C34-AB72-23813DBDDAA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2703" y="3537208"/>
            <a:ext cx="899746" cy="900000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D749BD35-FAE6-43CC-BE39-01CDA790AC8A}"/>
              </a:ext>
            </a:extLst>
          </p:cNvPr>
          <p:cNvGrpSpPr/>
          <p:nvPr/>
        </p:nvGrpSpPr>
        <p:grpSpPr>
          <a:xfrm>
            <a:off x="4911355" y="2828423"/>
            <a:ext cx="1824230" cy="1550546"/>
            <a:chOff x="8656590" y="5457424"/>
            <a:chExt cx="802970" cy="682502"/>
          </a:xfrm>
        </p:grpSpPr>
        <p:sp>
          <p:nvSpPr>
            <p:cNvPr id="19" name="Pfeil: nach rechts 18">
              <a:extLst>
                <a:ext uri="{FF2B5EF4-FFF2-40B4-BE49-F238E27FC236}">
                  <a16:creationId xmlns:a16="http://schemas.microsoft.com/office/drawing/2014/main" id="{BA92375E-3380-4A8E-9862-9A0966CCF1E4}"/>
                </a:ext>
              </a:extLst>
            </p:cNvPr>
            <p:cNvSpPr/>
            <p:nvPr/>
          </p:nvSpPr>
          <p:spPr>
            <a:xfrm>
              <a:off x="8656590" y="6051026"/>
              <a:ext cx="240182" cy="88900"/>
            </a:xfrm>
            <a:prstGeom prst="rightArrow">
              <a:avLst>
                <a:gd name="adj1" fmla="val 100000"/>
                <a:gd name="adj2" fmla="val 8214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20" name="Pfeil: nach rechts 19">
              <a:extLst>
                <a:ext uri="{FF2B5EF4-FFF2-40B4-BE49-F238E27FC236}">
                  <a16:creationId xmlns:a16="http://schemas.microsoft.com/office/drawing/2014/main" id="{21CBB353-7FA5-4F85-8291-0B615DD1A803}"/>
                </a:ext>
              </a:extLst>
            </p:cNvPr>
            <p:cNvSpPr/>
            <p:nvPr/>
          </p:nvSpPr>
          <p:spPr>
            <a:xfrm>
              <a:off x="8656590" y="5915818"/>
              <a:ext cx="337206" cy="88900"/>
            </a:xfrm>
            <a:prstGeom prst="rightArrow">
              <a:avLst>
                <a:gd name="adj1" fmla="val 100000"/>
                <a:gd name="adj2" fmla="val 8214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23" name="Pfeil: nach rechts 22">
              <a:extLst>
                <a:ext uri="{FF2B5EF4-FFF2-40B4-BE49-F238E27FC236}">
                  <a16:creationId xmlns:a16="http://schemas.microsoft.com/office/drawing/2014/main" id="{90A62631-A592-4A00-84F6-308FB09F4550}"/>
                </a:ext>
              </a:extLst>
            </p:cNvPr>
            <p:cNvSpPr/>
            <p:nvPr/>
          </p:nvSpPr>
          <p:spPr>
            <a:xfrm>
              <a:off x="8656590" y="5780610"/>
              <a:ext cx="401310" cy="88900"/>
            </a:xfrm>
            <a:prstGeom prst="rightArrow">
              <a:avLst>
                <a:gd name="adj1" fmla="val 100000"/>
                <a:gd name="adj2" fmla="val 8214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24" name="Pfeil: nach rechts 23">
              <a:extLst>
                <a:ext uri="{FF2B5EF4-FFF2-40B4-BE49-F238E27FC236}">
                  <a16:creationId xmlns:a16="http://schemas.microsoft.com/office/drawing/2014/main" id="{96D8B498-CE82-4AFC-A923-04538C9FA47A}"/>
                </a:ext>
              </a:extLst>
            </p:cNvPr>
            <p:cNvSpPr/>
            <p:nvPr/>
          </p:nvSpPr>
          <p:spPr>
            <a:xfrm>
              <a:off x="8656590" y="5642497"/>
              <a:ext cx="511431" cy="88900"/>
            </a:xfrm>
            <a:prstGeom prst="rightArrow">
              <a:avLst>
                <a:gd name="adj1" fmla="val 100000"/>
                <a:gd name="adj2" fmla="val 8214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25" name="Pfeil: nach rechts 24">
              <a:extLst>
                <a:ext uri="{FF2B5EF4-FFF2-40B4-BE49-F238E27FC236}">
                  <a16:creationId xmlns:a16="http://schemas.microsoft.com/office/drawing/2014/main" id="{F9FCC6F9-8EED-4E6C-AD00-7788F277264C}"/>
                </a:ext>
              </a:extLst>
            </p:cNvPr>
            <p:cNvSpPr/>
            <p:nvPr/>
          </p:nvSpPr>
          <p:spPr>
            <a:xfrm>
              <a:off x="8656590" y="5504384"/>
              <a:ext cx="578518" cy="88900"/>
            </a:xfrm>
            <a:prstGeom prst="rightArrow">
              <a:avLst>
                <a:gd name="adj1" fmla="val 100000"/>
                <a:gd name="adj2" fmla="val 8214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endParaRP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1BFE741C-2A85-4F07-8C2F-63FC60172BC6}"/>
                </a:ext>
              </a:extLst>
            </p:cNvPr>
            <p:cNvSpPr txBox="1"/>
            <p:nvPr/>
          </p:nvSpPr>
          <p:spPr>
            <a:xfrm>
              <a:off x="9270134" y="5457424"/>
              <a:ext cx="189426" cy="2263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buntu"/>
                  <a:ea typeface="+mn-ea"/>
                  <a:cs typeface="+mn-cs"/>
                </a:rPr>
                <a:t>A++</a:t>
              </a:r>
            </a:p>
          </p:txBody>
        </p:sp>
      </p:grp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115DEB8E-E2C1-4A76-93C0-536953FEAEB8}"/>
              </a:ext>
            </a:extLst>
          </p:cNvPr>
          <p:cNvSpPr/>
          <p:nvPr/>
        </p:nvSpPr>
        <p:spPr>
          <a:xfrm>
            <a:off x="1490499" y="3164502"/>
            <a:ext cx="639006" cy="284634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B4E13F1D-EBE9-4D54-96F9-171D8F712052}"/>
              </a:ext>
            </a:extLst>
          </p:cNvPr>
          <p:cNvSpPr txBox="1">
            <a:spLocks/>
          </p:cNvSpPr>
          <p:nvPr/>
        </p:nvSpPr>
        <p:spPr>
          <a:xfrm>
            <a:off x="566841" y="1769427"/>
            <a:ext cx="2765057" cy="41574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000" indent="-34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000" indent="-34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Ubuntu" panose="020B0504030602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000" indent="-34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Ubuntu" panose="020B050403060203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2000" indent="-34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42000" indent="-342000" algn="l" defTabSz="914400" rtl="0" eaLnBrk="1" latinLnBrk="0" hangingPunct="1">
              <a:lnSpc>
                <a:spcPct val="110000"/>
              </a:lnSpc>
              <a:spcBef>
                <a:spcPts val="3000"/>
              </a:spcBef>
              <a:spcAft>
                <a:spcPts val="600"/>
              </a:spcAft>
              <a:buFontTx/>
              <a:buNone/>
              <a:defRPr sz="2000" b="1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Fuel Switch 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</a:b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6371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A14A398-D760-4E07-A34D-DCCB86F3AC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93789F8-FC5B-4151-8B4E-68F6E6BF276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8775" y="539336"/>
            <a:ext cx="4502592" cy="1601979"/>
          </a:xfrm>
        </p:spPr>
        <p:txBody>
          <a:bodyPr/>
          <a:lstStyle/>
          <a:p>
            <a:r>
              <a:rPr lang="de-DE" sz="3600" dirty="0">
                <a:solidFill>
                  <a:schemeClr val="bg1"/>
                </a:solidFill>
              </a:rPr>
              <a:t>Vielen Dank 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22862509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67D8872-379D-4414-BDD5-7B2C4DD913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r.-Ing. Timm Kehler</a:t>
            </a:r>
          </a:p>
          <a:p>
            <a:r>
              <a:rPr lang="de-DE" dirty="0"/>
              <a:t>Vorstand</a:t>
            </a:r>
          </a:p>
          <a:p>
            <a:endParaRPr lang="de-DE" dirty="0"/>
          </a:p>
          <a:p>
            <a:r>
              <a:rPr lang="de-DE" dirty="0"/>
              <a:t>T: +49 30 4606015-80 | M: +49 151 580 257 51</a:t>
            </a:r>
          </a:p>
          <a:p>
            <a:r>
              <a:rPr lang="de-DE" dirty="0"/>
              <a:t>E: timm.kehler@gas.info | www.gas.info</a:t>
            </a:r>
          </a:p>
        </p:txBody>
      </p:sp>
    </p:spTree>
    <p:extLst>
      <p:ext uri="{BB962C8B-B14F-4D97-AF65-F5344CB8AC3E}">
        <p14:creationId xmlns:p14="http://schemas.microsoft.com/office/powerpoint/2010/main" val="24273953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FDD8C23-97BD-4DF9-866E-3722AF1BE9FD}"/>
              </a:ext>
            </a:extLst>
          </p:cNvPr>
          <p:cNvGrpSpPr/>
          <p:nvPr/>
        </p:nvGrpSpPr>
        <p:grpSpPr>
          <a:xfrm>
            <a:off x="233720" y="1367226"/>
            <a:ext cx="11473630" cy="4900374"/>
            <a:chOff x="2062957" y="1105978"/>
            <a:chExt cx="8064249" cy="4693112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62957" y="1105978"/>
              <a:ext cx="8064249" cy="4124620"/>
            </a:xfrm>
            <a:prstGeom prst="rect">
              <a:avLst/>
            </a:prstGeom>
          </p:spPr>
        </p:pic>
        <p:sp>
          <p:nvSpPr>
            <p:cNvPr id="13" name="Textfeld 12"/>
            <p:cNvSpPr txBox="1"/>
            <p:nvPr/>
          </p:nvSpPr>
          <p:spPr>
            <a:xfrm>
              <a:off x="2235306" y="5429758"/>
              <a:ext cx="36997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latin typeface="Whitney Semibold" pitchFamily="50" charset="0"/>
                </a:rPr>
                <a:t>Jan</a:t>
              </a:r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2866095" y="5429758"/>
              <a:ext cx="37997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latin typeface="Whitney Semibold" pitchFamily="50" charset="0"/>
                </a:rPr>
                <a:t>Feb</a:t>
              </a:r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3530355" y="5429758"/>
              <a:ext cx="4252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latin typeface="Whitney Semibold" pitchFamily="50" charset="0"/>
                </a:rPr>
                <a:t>Mar</a:t>
              </a: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4242896" y="5429758"/>
              <a:ext cx="39877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latin typeface="Whitney Semibold" pitchFamily="50" charset="0"/>
                </a:rPr>
                <a:t>Apr</a:t>
              </a:r>
            </a:p>
          </p:txBody>
        </p:sp>
        <p:sp>
          <p:nvSpPr>
            <p:cNvPr id="17" name="Textfeld 16"/>
            <p:cNvSpPr txBox="1"/>
            <p:nvPr/>
          </p:nvSpPr>
          <p:spPr>
            <a:xfrm>
              <a:off x="4902539" y="5429758"/>
              <a:ext cx="40568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latin typeface="Whitney Semibold" pitchFamily="50" charset="0"/>
                </a:rPr>
                <a:t>Mai</a:t>
              </a:r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5587830" y="5429758"/>
              <a:ext cx="37573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latin typeface="Whitney Semibold" pitchFamily="50" charset="0"/>
                </a:rPr>
                <a:t>Jun</a:t>
              </a:r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6229840" y="5429758"/>
              <a:ext cx="32851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latin typeface="Whitney Semibold" pitchFamily="50" charset="0"/>
                </a:rPr>
                <a:t>Jul</a:t>
              </a:r>
            </a:p>
          </p:txBody>
        </p:sp>
        <p:sp>
          <p:nvSpPr>
            <p:cNvPr id="20" name="Textfeld 19"/>
            <p:cNvSpPr txBox="1"/>
            <p:nvPr/>
          </p:nvSpPr>
          <p:spPr>
            <a:xfrm>
              <a:off x="6802921" y="5429758"/>
              <a:ext cx="42195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latin typeface="Whitney Semibold" pitchFamily="50" charset="0"/>
                </a:rPr>
                <a:t>Aug</a:t>
              </a:r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7491418" y="5429758"/>
              <a:ext cx="3941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latin typeface="Whitney Semibold" pitchFamily="50" charset="0"/>
                </a:rPr>
                <a:t>Sep</a:t>
              </a:r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8159077" y="5429758"/>
              <a:ext cx="39384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latin typeface="Whitney Semibold" pitchFamily="50" charset="0"/>
                </a:rPr>
                <a:t>Okt</a:t>
              </a:r>
            </a:p>
          </p:txBody>
        </p:sp>
        <p:sp>
          <p:nvSpPr>
            <p:cNvPr id="23" name="Textfeld 22"/>
            <p:cNvSpPr txBox="1"/>
            <p:nvPr/>
          </p:nvSpPr>
          <p:spPr>
            <a:xfrm>
              <a:off x="8815962" y="5429758"/>
              <a:ext cx="4145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latin typeface="Whitney Semibold" pitchFamily="50" charset="0"/>
                </a:rPr>
                <a:t>Nov</a:t>
              </a: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9514653" y="5429758"/>
              <a:ext cx="40799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>
                  <a:latin typeface="Whitney Semibold" pitchFamily="50" charset="0"/>
                </a:rPr>
                <a:t>Dez</a:t>
              </a:r>
            </a:p>
          </p:txBody>
        </p:sp>
        <p:cxnSp>
          <p:nvCxnSpPr>
            <p:cNvPr id="26" name="Gerader Verbinder 25"/>
            <p:cNvCxnSpPr/>
            <p:nvPr/>
          </p:nvCxnSpPr>
          <p:spPr>
            <a:xfrm>
              <a:off x="2235305" y="5332654"/>
              <a:ext cx="779263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Energieverbrauch</a:t>
            </a:r>
            <a:r>
              <a:rPr lang="en-US"/>
              <a:t> </a:t>
            </a:r>
            <a:r>
              <a:rPr lang="en-US" err="1"/>
              <a:t>eines</a:t>
            </a:r>
            <a:r>
              <a:rPr lang="en-US"/>
              <a:t> </a:t>
            </a:r>
            <a:r>
              <a:rPr lang="en-US" err="1"/>
              <a:t>Durchschnittshaushaltes</a:t>
            </a:r>
            <a:r>
              <a:rPr lang="en-US"/>
              <a:t>
</a:t>
            </a:r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42B0E31-4530-475B-8B3A-61FD89DFF5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9" name="Gerader Verbinder 8"/>
          <p:cNvCxnSpPr/>
          <p:nvPr/>
        </p:nvCxnSpPr>
        <p:spPr>
          <a:xfrm>
            <a:off x="4582537" y="2411429"/>
            <a:ext cx="356050" cy="0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5016881" y="2224287"/>
            <a:ext cx="35736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latin typeface="Whitney Semibold" pitchFamily="50" charset="0"/>
              </a:rPr>
              <a:t>Stromverbrauch (3.000 kWh p. a.)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5016881" y="1940041"/>
            <a:ext cx="34482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latin typeface="Whitney Semibold" pitchFamily="50" charset="0"/>
              </a:rPr>
              <a:t>Gasverbrauch (15.000 kWh p. a.)</a:t>
            </a:r>
          </a:p>
        </p:txBody>
      </p:sp>
      <p:cxnSp>
        <p:nvCxnSpPr>
          <p:cNvPr id="12" name="Gerader Verbinder 11"/>
          <p:cNvCxnSpPr/>
          <p:nvPr/>
        </p:nvCxnSpPr>
        <p:spPr>
          <a:xfrm>
            <a:off x="4582537" y="2112569"/>
            <a:ext cx="356050" cy="0"/>
          </a:xfrm>
          <a:prstGeom prst="line">
            <a:avLst/>
          </a:prstGeom>
          <a:ln w="57150">
            <a:solidFill>
              <a:srgbClr val="D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ußzeilenplatzhalter 19">
            <a:extLst>
              <a:ext uri="{FF2B5EF4-FFF2-40B4-BE49-F238E27FC236}">
                <a16:creationId xmlns:a16="http://schemas.microsoft.com/office/drawing/2014/main" id="{934552A6-88A2-4231-85C1-C3656CC3A8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975600" y="6638423"/>
            <a:ext cx="4114800" cy="180000"/>
          </a:xfrm>
        </p:spPr>
        <p:txBody>
          <a:bodyPr/>
          <a:lstStyle/>
          <a:p>
            <a:pPr defTabSz="914309"/>
            <a:r>
              <a:rPr lang="de-DE">
                <a:solidFill>
                  <a:prstClr val="black"/>
                </a:solidFill>
                <a:latin typeface="Ubuntu" panose="020B0504030602030204" pitchFamily="34" charset="0"/>
              </a:rPr>
              <a:t>Dr. Timm Kehler, Zukunft Gas e.V.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3E2BC17-307A-4C8E-A70E-499A54E2A0CA}"/>
              </a:ext>
            </a:extLst>
          </p:cNvPr>
          <p:cNvSpPr/>
          <p:nvPr/>
        </p:nvSpPr>
        <p:spPr>
          <a:xfrm>
            <a:off x="11625506" y="6587591"/>
            <a:ext cx="40908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D44373-2D2E-48BF-BA6D-CFC58F0679E5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4FB26A4-9F64-4595-BF0B-74C3D3140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April 21</a:t>
            </a:r>
          </a:p>
        </p:txBody>
      </p:sp>
    </p:spTree>
    <p:extLst>
      <p:ext uri="{BB962C8B-B14F-4D97-AF65-F5344CB8AC3E}">
        <p14:creationId xmlns:p14="http://schemas.microsoft.com/office/powerpoint/2010/main" val="8857257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FEA0BD2-2168-48DB-9004-C21BE77F9D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8595361"/>
          </a:xfrm>
          <a:prstGeom prst="rect">
            <a:avLst/>
          </a:prstGeom>
          <a:noFill/>
        </p:spPr>
      </p:pic>
      <p:sp>
        <p:nvSpPr>
          <p:cNvPr id="3" name="Datumsplatzhalter 2" hidden="1">
            <a:extLst>
              <a:ext uri="{FF2B5EF4-FFF2-40B4-BE49-F238E27FC236}">
                <a16:creationId xmlns:a16="http://schemas.microsoft.com/office/drawing/2014/main" id="{58AD992A-EA81-430B-B541-CDF952033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9/202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E63190-D887-4E47-A3A7-442FBBE0B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4000" y="6638423"/>
            <a:ext cx="4114800" cy="18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r. Timm Kehler / Zukunft Gas </a:t>
            </a:r>
          </a:p>
        </p:txBody>
      </p:sp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055C292F-F6C5-4B39-AEFE-612518E3E7B0}"/>
              </a:ext>
            </a:extLst>
          </p:cNvPr>
          <p:cNvSpPr txBox="1">
            <a:spLocks/>
          </p:cNvSpPr>
          <p:nvPr/>
        </p:nvSpPr>
        <p:spPr>
          <a:xfrm>
            <a:off x="352856" y="6638423"/>
            <a:ext cx="7739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4. Juni 2021</a:t>
            </a:r>
          </a:p>
        </p:txBody>
      </p:sp>
    </p:spTree>
    <p:extLst>
      <p:ext uri="{BB962C8B-B14F-4D97-AF65-F5344CB8AC3E}">
        <p14:creationId xmlns:p14="http://schemas.microsoft.com/office/powerpoint/2010/main" val="41396830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B9BC0FD5-2840-4628-B85F-370FE2E3AB3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" name="Datumsplatzhalter 2" hidden="1">
            <a:extLst>
              <a:ext uri="{FF2B5EF4-FFF2-40B4-BE49-F238E27FC236}">
                <a16:creationId xmlns:a16="http://schemas.microsoft.com/office/drawing/2014/main" id="{58AD992A-EA81-430B-B541-CDF952033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9/2021</a:t>
            </a:r>
          </a:p>
        </p:txBody>
      </p:sp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F1725C74-0399-435E-A715-09C61458ABA6}"/>
              </a:ext>
            </a:extLst>
          </p:cNvPr>
          <p:cNvSpPr txBox="1">
            <a:spLocks/>
          </p:cNvSpPr>
          <p:nvPr/>
        </p:nvSpPr>
        <p:spPr>
          <a:xfrm>
            <a:off x="352856" y="6638423"/>
            <a:ext cx="7739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4. Juni 2021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A09DE8A-8F2A-4DE2-903C-01FB8979A6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8641800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F9CF1BD-97EB-4AAB-BF01-BBB2F3300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</p:spTree>
    <p:extLst>
      <p:ext uri="{BB962C8B-B14F-4D97-AF65-F5344CB8AC3E}">
        <p14:creationId xmlns:p14="http://schemas.microsoft.com/office/powerpoint/2010/main" val="12387295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B9BC0FD5-2840-4628-B85F-370FE2E3AB3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ea typeface="+mn-ea"/>
              <a:cs typeface="+mn-cs"/>
            </a:endParaRPr>
          </a:p>
        </p:txBody>
      </p:sp>
      <p:sp>
        <p:nvSpPr>
          <p:cNvPr id="3" name="Datumsplatzhalter 2" hidden="1">
            <a:extLst>
              <a:ext uri="{FF2B5EF4-FFF2-40B4-BE49-F238E27FC236}">
                <a16:creationId xmlns:a16="http://schemas.microsoft.com/office/drawing/2014/main" id="{58AD992A-EA81-430B-B541-CDF952033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9/2021</a:t>
            </a:r>
          </a:p>
        </p:txBody>
      </p:sp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F1725C74-0399-435E-A715-09C61458ABA6}"/>
              </a:ext>
            </a:extLst>
          </p:cNvPr>
          <p:cNvSpPr txBox="1">
            <a:spLocks/>
          </p:cNvSpPr>
          <p:nvPr/>
        </p:nvSpPr>
        <p:spPr>
          <a:xfrm>
            <a:off x="352856" y="6638423"/>
            <a:ext cx="7739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4. Juni 2021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8CD90C5-79F5-4F5C-9376-CFB6DB4DD7F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33"/>
          <a:stretch/>
        </p:blipFill>
        <p:spPr>
          <a:xfrm>
            <a:off x="0" y="-3591"/>
            <a:ext cx="12192000" cy="8658831"/>
          </a:xfrm>
          <a:prstGeom prst="rect">
            <a:avLst/>
          </a:prstGeom>
          <a:noFill/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FB0362-9776-452F-8CA0-71834B7F8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</p:spTree>
    <p:extLst>
      <p:ext uri="{BB962C8B-B14F-4D97-AF65-F5344CB8AC3E}">
        <p14:creationId xmlns:p14="http://schemas.microsoft.com/office/powerpoint/2010/main" val="28524907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CCCC1D4-D76C-4335-8ECC-E7DE925A6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as </a:t>
            </a:r>
            <a:r>
              <a:rPr lang="en-GB" dirty="0" err="1"/>
              <a:t>heißt</a:t>
            </a:r>
            <a:r>
              <a:rPr lang="en-GB" dirty="0"/>
              <a:t> </a:t>
            </a:r>
            <a:r>
              <a:rPr lang="en-GB" dirty="0" err="1"/>
              <a:t>Klimaneutralität</a:t>
            </a:r>
            <a:r>
              <a:rPr lang="en-GB" dirty="0"/>
              <a:t> bis 2045 für Erdgas?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CA0BDB1-5459-4970-93E9-3433FEA600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Ziele</a:t>
            </a:r>
            <a:r>
              <a:rPr lang="en-GB" dirty="0"/>
              <a:t> der dt. </a:t>
            </a:r>
            <a:r>
              <a:rPr lang="en-GB" dirty="0" err="1"/>
              <a:t>Bundesregierung</a:t>
            </a:r>
            <a:r>
              <a:rPr lang="en-GB" dirty="0"/>
              <a:t> </a:t>
            </a:r>
            <a:r>
              <a:rPr lang="en-GB" dirty="0" err="1"/>
              <a:t>laut</a:t>
            </a:r>
            <a:r>
              <a:rPr lang="en-GB" dirty="0"/>
              <a:t> </a:t>
            </a:r>
            <a:r>
              <a:rPr lang="en-GB" dirty="0" err="1"/>
              <a:t>Klimaschutzgesetz</a:t>
            </a:r>
            <a:endParaRPr lang="en-GB" dirty="0"/>
          </a:p>
        </p:txBody>
      </p:sp>
      <p:graphicFrame>
        <p:nvGraphicFramePr>
          <p:cNvPr id="16" name="Diagramm 15">
            <a:extLst>
              <a:ext uri="{FF2B5EF4-FFF2-40B4-BE49-F238E27FC236}">
                <a16:creationId xmlns:a16="http://schemas.microsoft.com/office/drawing/2014/main" id="{50AA3457-A922-41B9-BFAD-5C48A41C111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8596217"/>
              </p:ext>
            </p:extLst>
          </p:nvPr>
        </p:nvGraphicFramePr>
        <p:xfrm>
          <a:off x="237166" y="1382934"/>
          <a:ext cx="9888611" cy="4890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4633F763-4F53-43FF-BBFB-E3E1D35C9911}"/>
              </a:ext>
            </a:extLst>
          </p:cNvPr>
          <p:cNvCxnSpPr>
            <a:cxnSpLocks/>
          </p:cNvCxnSpPr>
          <p:nvPr/>
        </p:nvCxnSpPr>
        <p:spPr>
          <a:xfrm>
            <a:off x="9867743" y="5212541"/>
            <a:ext cx="1526720" cy="585975"/>
          </a:xfrm>
          <a:prstGeom prst="straightConnector1">
            <a:avLst/>
          </a:prstGeom>
          <a:ln w="76200">
            <a:solidFill>
              <a:schemeClr val="bg2">
                <a:lumMod val="40000"/>
                <a:lumOff val="6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F908B750-2C31-4615-8003-E2C1DEBDD5DA}"/>
              </a:ext>
            </a:extLst>
          </p:cNvPr>
          <p:cNvSpPr txBox="1"/>
          <p:nvPr/>
        </p:nvSpPr>
        <p:spPr>
          <a:xfrm>
            <a:off x="10937263" y="600135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5000"/>
              </a:lnSpc>
            </a:pPr>
            <a:r>
              <a:rPr lang="en-GB" sz="1200" b="1" dirty="0"/>
              <a:t>2045</a:t>
            </a:r>
          </a:p>
          <a:p>
            <a:pPr algn="ctr">
              <a:lnSpc>
                <a:spcPct val="115000"/>
              </a:lnSpc>
            </a:pPr>
            <a:r>
              <a:rPr lang="en-GB" sz="1200" b="1" dirty="0" err="1"/>
              <a:t>Klimaneutralität</a:t>
            </a:r>
            <a:r>
              <a:rPr lang="en-GB" sz="1200" b="1" dirty="0"/>
              <a:t> 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0B3D2667-C550-4290-B0B9-450E661D6A3D}"/>
              </a:ext>
            </a:extLst>
          </p:cNvPr>
          <p:cNvCxnSpPr>
            <a:cxnSpLocks/>
          </p:cNvCxnSpPr>
          <p:nvPr/>
        </p:nvCxnSpPr>
        <p:spPr>
          <a:xfrm>
            <a:off x="991402" y="5924350"/>
            <a:ext cx="1082902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Datumsplatzhalter 27">
            <a:extLst>
              <a:ext uri="{FF2B5EF4-FFF2-40B4-BE49-F238E27FC236}">
                <a16:creationId xmlns:a16="http://schemas.microsoft.com/office/drawing/2014/main" id="{1BC16530-4E4D-47BC-85C9-70C38EA05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  <a:endParaRPr lang="de-DE" dirty="0"/>
          </a:p>
        </p:txBody>
      </p:sp>
      <p:sp>
        <p:nvSpPr>
          <p:cNvPr id="29" name="Fußzeilenplatzhalter 28">
            <a:extLst>
              <a:ext uri="{FF2B5EF4-FFF2-40B4-BE49-F238E27FC236}">
                <a16:creationId xmlns:a16="http://schemas.microsoft.com/office/drawing/2014/main" id="{5DD943B9-A185-4A55-A82E-7E64085D42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</p:spTree>
    <p:extLst>
      <p:ext uri="{BB962C8B-B14F-4D97-AF65-F5344CB8AC3E}">
        <p14:creationId xmlns:p14="http://schemas.microsoft.com/office/powerpoint/2010/main" val="17209092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Text, Gras, Schild enthält.&#10;&#10;Automatisch generierte Beschreibung">
            <a:extLst>
              <a:ext uri="{FF2B5EF4-FFF2-40B4-BE49-F238E27FC236}">
                <a16:creationId xmlns:a16="http://schemas.microsoft.com/office/drawing/2014/main" id="{D80A9336-A9A3-4DEF-A1D3-7721032DDB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8595361"/>
          </a:xfrm>
          <a:prstGeom prst="rect">
            <a:avLst/>
          </a:prstGeom>
          <a:noFill/>
        </p:spPr>
      </p:pic>
      <p:sp>
        <p:nvSpPr>
          <p:cNvPr id="3" name="Datumsplatzhalter 2" hidden="1">
            <a:extLst>
              <a:ext uri="{FF2B5EF4-FFF2-40B4-BE49-F238E27FC236}">
                <a16:creationId xmlns:a16="http://schemas.microsoft.com/office/drawing/2014/main" id="{58AD992A-EA81-430B-B541-CDF952033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09/202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E63190-D887-4E47-A3A7-442FBBE0B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4000" y="6638423"/>
            <a:ext cx="4114800" cy="18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Dr. Timm Kehler / Zukunft Gas </a:t>
            </a:r>
          </a:p>
        </p:txBody>
      </p:sp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7CB0F2FB-1BF4-4B58-8558-AA1FE462F923}"/>
              </a:ext>
            </a:extLst>
          </p:cNvPr>
          <p:cNvSpPr txBox="1">
            <a:spLocks/>
          </p:cNvSpPr>
          <p:nvPr/>
        </p:nvSpPr>
        <p:spPr>
          <a:xfrm>
            <a:off x="352856" y="6638423"/>
            <a:ext cx="77398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buntu"/>
                <a:ea typeface="+mn-ea"/>
                <a:cs typeface="+mn-cs"/>
              </a:rPr>
              <a:t>24. Juni 2021</a:t>
            </a:r>
          </a:p>
        </p:txBody>
      </p:sp>
    </p:spTree>
    <p:extLst>
      <p:ext uri="{BB962C8B-B14F-4D97-AF65-F5344CB8AC3E}">
        <p14:creationId xmlns:p14="http://schemas.microsoft.com/office/powerpoint/2010/main" val="26677895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AEC5EB-2A52-4C39-B48F-61D8EDB28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o </a:t>
            </a:r>
            <a:r>
              <a:rPr lang="de-DE" dirty="0" err="1"/>
              <a:t>methan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hel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quickly</a:t>
            </a:r>
            <a:r>
              <a:rPr lang="de-DE" dirty="0"/>
              <a:t> </a:t>
            </a:r>
            <a:r>
              <a:rPr lang="de-DE" dirty="0" err="1"/>
              <a:t>reduce</a:t>
            </a:r>
            <a:r>
              <a:rPr lang="de-DE" dirty="0"/>
              <a:t> CO</a:t>
            </a:r>
            <a:r>
              <a:rPr lang="de-DE" sz="2000" dirty="0"/>
              <a:t>2</a:t>
            </a:r>
            <a:r>
              <a:rPr lang="de-DE" dirty="0"/>
              <a:t> </a:t>
            </a:r>
            <a:r>
              <a:rPr lang="de-DE" dirty="0" err="1"/>
              <a:t>emission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CD5463-864A-4B62-8CA7-AA3776D77DC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3AB2937-1EDF-49EE-8162-5F1CB8BCC4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Fotocredit (optional)</a:t>
            </a:r>
          </a:p>
        </p:txBody>
      </p:sp>
      <p:pic>
        <p:nvPicPr>
          <p:cNvPr id="19" name="Bildplatzhalter 18">
            <a:extLst>
              <a:ext uri="{FF2B5EF4-FFF2-40B4-BE49-F238E27FC236}">
                <a16:creationId xmlns:a16="http://schemas.microsoft.com/office/drawing/2014/main" id="{54D03EF9-2708-46FD-9FC3-CC2CEB8AB68D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10" t="371" r="6410" b="1"/>
          <a:stretch/>
        </p:blipFill>
        <p:spPr>
          <a:xfrm>
            <a:off x="5351750" y="1570919"/>
            <a:ext cx="6478300" cy="4926719"/>
          </a:xfrm>
        </p:spPr>
      </p:pic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B9E08F4B-3BB6-4E90-8A14-11CE6C405009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5" t="1719" r="10934" b="1707"/>
          <a:stretch/>
        </p:blipFill>
        <p:spPr>
          <a:xfrm>
            <a:off x="356850" y="1562039"/>
            <a:ext cx="4900950" cy="4935600"/>
          </a:xfr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9145A74-8DD0-47F2-929A-2608649FF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r. Timm Kehler / Zukunft Gas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9300FCB-75F8-492F-B7AB-B08FE8BEE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9/2021</a:t>
            </a:r>
          </a:p>
        </p:txBody>
      </p:sp>
    </p:spTree>
    <p:extLst>
      <p:ext uri="{BB962C8B-B14F-4D97-AF65-F5344CB8AC3E}">
        <p14:creationId xmlns:p14="http://schemas.microsoft.com/office/powerpoint/2010/main" val="2451690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as">
  <a:themeElements>
    <a:clrScheme name="Erdgas_V01">
      <a:dk1>
        <a:sysClr val="windowText" lastClr="000000"/>
      </a:dk1>
      <a:lt1>
        <a:sysClr val="window" lastClr="FFFFFF"/>
      </a:lt1>
      <a:dk2>
        <a:srgbClr val="46AA28"/>
      </a:dk2>
      <a:lt2>
        <a:srgbClr val="26BBDC"/>
      </a:lt2>
      <a:accent1>
        <a:srgbClr val="006BA1"/>
      </a:accent1>
      <a:accent2>
        <a:srgbClr val="0095CF"/>
      </a:accent2>
      <a:accent3>
        <a:srgbClr val="62B748"/>
      </a:accent3>
      <a:accent4>
        <a:srgbClr val="87C873"/>
      </a:accent4>
      <a:accent5>
        <a:srgbClr val="ACD99E"/>
      </a:accent5>
      <a:accent6>
        <a:srgbClr val="FFDA00"/>
      </a:accent6>
      <a:hlink>
        <a:srgbClr val="266222"/>
      </a:hlink>
      <a:folHlink>
        <a:srgbClr val="357D2D"/>
      </a:folHlink>
    </a:clrScheme>
    <a:fontScheme name="Ubuntu">
      <a:majorFont>
        <a:latin typeface="Ubuntu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5000"/>
          </a:lnSpc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imm Kehler_Press trip Scotland" id="{2A6B2B8F-0839-441C-BF24-8A1A1C329DE1}" vid="{31BDE6B6-59F7-46B1-B9DE-7FBCC4592AA6}"/>
    </a:ext>
  </a:extLst>
</a:theme>
</file>

<file path=ppt/theme/theme2.xml><?xml version="1.0" encoding="utf-8"?>
<a:theme xmlns:a="http://schemas.openxmlformats.org/drawingml/2006/main" name="Erdgas">
  <a:themeElements>
    <a:clrScheme name="Erdgas_V01">
      <a:dk1>
        <a:sysClr val="windowText" lastClr="000000"/>
      </a:dk1>
      <a:lt1>
        <a:sysClr val="window" lastClr="FFFFFF"/>
      </a:lt1>
      <a:dk2>
        <a:srgbClr val="46AA28"/>
      </a:dk2>
      <a:lt2>
        <a:srgbClr val="26BBDC"/>
      </a:lt2>
      <a:accent1>
        <a:srgbClr val="006BA1"/>
      </a:accent1>
      <a:accent2>
        <a:srgbClr val="0095CF"/>
      </a:accent2>
      <a:accent3>
        <a:srgbClr val="62B748"/>
      </a:accent3>
      <a:accent4>
        <a:srgbClr val="87C873"/>
      </a:accent4>
      <a:accent5>
        <a:srgbClr val="ACD99E"/>
      </a:accent5>
      <a:accent6>
        <a:srgbClr val="FFDA00"/>
      </a:accent6>
      <a:hlink>
        <a:srgbClr val="266222"/>
      </a:hlink>
      <a:folHlink>
        <a:srgbClr val="357D2D"/>
      </a:folHlink>
    </a:clrScheme>
    <a:fontScheme name="Ubuntu">
      <a:majorFont>
        <a:latin typeface="Ubuntu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5000"/>
          </a:lnSpc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-Master Zukunft Gas.pptx" id="{8E52AEB2-CA49-488B-8820-1E0A7E8B59C3}" vid="{3744F839-654F-471B-8C27-0811E2684437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D78C3422499D4EAA6182AD8F83BC99" ma:contentTypeVersion="11" ma:contentTypeDescription="Create a new document." ma:contentTypeScope="" ma:versionID="2f646b207f777db5c1c0b121be476cff">
  <xsd:schema xmlns:xsd="http://www.w3.org/2001/XMLSchema" xmlns:xs="http://www.w3.org/2001/XMLSchema" xmlns:p="http://schemas.microsoft.com/office/2006/metadata/properties" xmlns:ns3="3c1dc9d5-d868-45bf-ad74-dce16c205613" xmlns:ns4="e18883df-e1e5-4044-b138-f590d89227c8" targetNamespace="http://schemas.microsoft.com/office/2006/metadata/properties" ma:root="true" ma:fieldsID="49aecc40f90064730b7590145a13c0ad" ns3:_="" ns4:_="">
    <xsd:import namespace="3c1dc9d5-d868-45bf-ad74-dce16c205613"/>
    <xsd:import namespace="e18883df-e1e5-4044-b138-f590d89227c8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EventHashCode" minOccurs="0"/>
                <xsd:element ref="ns4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1dc9d5-d868-45bf-ad74-dce16c20561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8883df-e1e5-4044-b138-f590d89227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D6D113A-2322-4744-9EB3-7B45BCF5F08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42EAD3-E487-451F-86ED-BF11B333FD96}">
  <ds:schemaRefs>
    <ds:schemaRef ds:uri="3c1dc9d5-d868-45bf-ad74-dce16c205613"/>
    <ds:schemaRef ds:uri="e18883df-e1e5-4044-b138-f590d89227c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1C802B9-9748-45F2-AB06-5307B32DA8A6}">
  <ds:schemaRefs>
    <ds:schemaRef ds:uri="3c1dc9d5-d868-45bf-ad74-dce16c205613"/>
    <ds:schemaRef ds:uri="e18883df-e1e5-4044-b138-f590d89227c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54</Words>
  <Application>Microsoft Office PowerPoint</Application>
  <PresentationFormat>Breitbild</PresentationFormat>
  <Paragraphs>158</Paragraphs>
  <Slides>23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34" baseType="lpstr">
      <vt:lpstr>Arial</vt:lpstr>
      <vt:lpstr>Calibri</vt:lpstr>
      <vt:lpstr>Dax-Light</vt:lpstr>
      <vt:lpstr>Symbol</vt:lpstr>
      <vt:lpstr>Ubuntu</vt:lpstr>
      <vt:lpstr>Whitney Book</vt:lpstr>
      <vt:lpstr>Whitney Semibold</vt:lpstr>
      <vt:lpstr>Wingdings</vt:lpstr>
      <vt:lpstr>Ergas</vt:lpstr>
      <vt:lpstr>Erdgas</vt:lpstr>
      <vt:lpstr>think-cell Slide</vt:lpstr>
      <vt:lpstr>PowerPoint-Präsentation</vt:lpstr>
      <vt:lpstr>Endenergiebedarf in Deutschland</vt:lpstr>
      <vt:lpstr>Energieverbrauch eines Durchschnittshaushaltes
</vt:lpstr>
      <vt:lpstr>PowerPoint-Präsentation</vt:lpstr>
      <vt:lpstr>PowerPoint-Präsentation</vt:lpstr>
      <vt:lpstr>PowerPoint-Präsentation</vt:lpstr>
      <vt:lpstr>Was heißt Klimaneutralität bis 2045 für Erdgas?</vt:lpstr>
      <vt:lpstr>PowerPoint-Präsentation</vt:lpstr>
      <vt:lpstr>Bio methane can help to quickly reduce CO2 emissions</vt:lpstr>
      <vt:lpstr>PowerPoint-Präsentation</vt:lpstr>
      <vt:lpstr>Wasserstoffproduktion morgen: CO2-neutral
</vt:lpstr>
      <vt:lpstr>Alle Wasserstoff-Farben werden gebraucht</vt:lpstr>
      <vt:lpstr>Das europäische Gastransportnetz ist “H2-ready”</vt:lpstr>
      <vt:lpstr>Studie Klimaneutral Wohnen</vt:lpstr>
      <vt:lpstr>Studie Klimaneutral Wohnen</vt:lpstr>
      <vt:lpstr>PowerPoint-Präsentation</vt:lpstr>
      <vt:lpstr>Die Verteilnetze warden dezentrale Stromerzeuger benötigen</vt:lpstr>
      <vt:lpstr>Zuhause Strom und Wärme erzeugen</vt:lpstr>
      <vt:lpstr>Dezentrale Stromerzeugung mit SOFC Brennstoffzellen</vt:lpstr>
      <vt:lpstr>Wasserstoffnutzung morgen</vt:lpstr>
      <vt:lpstr>Future nicht nur am Friday? Mit Gas geht’s!</vt:lpstr>
      <vt:lpstr>Vielen Dank für Ihre Aufmerksamkeit!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r. Timm Kehler</dc:creator>
  <cp:lastModifiedBy>Dr. Timm Kehler</cp:lastModifiedBy>
  <cp:revision>40</cp:revision>
  <cp:lastPrinted>2020-06-25T10:13:31Z</cp:lastPrinted>
  <dcterms:created xsi:type="dcterms:W3CDTF">2019-12-02T07:55:49Z</dcterms:created>
  <dcterms:modified xsi:type="dcterms:W3CDTF">2021-09-09T20:2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D78C3422499D4EAA6182AD8F83BC99</vt:lpwstr>
  </property>
</Properties>
</file>